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</p:sldMasterIdLst>
  <p:notesMasterIdLst>
    <p:notesMasterId r:id="rId9"/>
  </p:notesMasterIdLst>
  <p:handoutMasterIdLst>
    <p:handoutMasterId r:id="rId10"/>
  </p:handoutMasterIdLst>
  <p:sldIdLst>
    <p:sldId id="436" r:id="rId3"/>
    <p:sldId id="258" r:id="rId4"/>
    <p:sldId id="370" r:id="rId5"/>
    <p:sldId id="437" r:id="rId6"/>
    <p:sldId id="441" r:id="rId7"/>
    <p:sldId id="439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B99A442-B0CA-4FA6-AA32-1218E7AE7D5F}" type="doc">
      <dgm:prSet loTypeId="urn:microsoft.com/office/officeart/2011/layout/RadialPictureList" loCatId="picture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en-US"/>
        </a:p>
      </dgm:t>
    </dgm:pt>
    <dgm:pt modelId="{BAEB0C4C-6DA7-47D0-BF00-3779D83672E0}">
      <dgm:prSet phldrT="[Text]" phldr="1"/>
      <dgm:spPr/>
      <dgm:t>
        <a:bodyPr/>
        <a:lstStyle/>
        <a:p>
          <a:endParaRPr lang="en-US" dirty="0"/>
        </a:p>
      </dgm:t>
    </dgm:pt>
    <dgm:pt modelId="{F36BB0B9-ADAD-4CC6-AB19-BE764D58A13E}" type="parTrans" cxnId="{91237A85-F900-4153-AC81-3A395FB51B22}">
      <dgm:prSet/>
      <dgm:spPr/>
      <dgm:t>
        <a:bodyPr/>
        <a:lstStyle/>
        <a:p>
          <a:endParaRPr lang="en-US"/>
        </a:p>
      </dgm:t>
    </dgm:pt>
    <dgm:pt modelId="{C950F11E-DEE8-4712-822F-A58CDCEFE54B}" type="sibTrans" cxnId="{91237A85-F900-4153-AC81-3A395FB51B22}">
      <dgm:prSet/>
      <dgm:spPr/>
      <dgm:t>
        <a:bodyPr/>
        <a:lstStyle/>
        <a:p>
          <a:endParaRPr lang="en-US"/>
        </a:p>
      </dgm:t>
    </dgm:pt>
    <dgm:pt modelId="{D5ADCA39-6F91-4593-A44F-282370A5902A}">
      <dgm:prSet phldrT="[Text]" custT="1"/>
      <dgm:spPr/>
      <dgm:t>
        <a:bodyPr/>
        <a:lstStyle/>
        <a:p>
          <a:pPr>
            <a:buFont typeface="Wingdings" panose="05000000000000000000" pitchFamily="2" charset="2"/>
            <a:buNone/>
          </a:pPr>
          <a:r>
            <a:rPr lang="en-US" sz="1400" b="1" dirty="0">
              <a:solidFill>
                <a:schemeClr val="accent6"/>
              </a:solidFill>
            </a:rPr>
            <a:t>Use Case 1 (Consumer Goods Industry):</a:t>
          </a:r>
          <a:r>
            <a:rPr lang="en-US" sz="1300" b="1" dirty="0">
              <a:solidFill>
                <a:schemeClr val="accent6"/>
              </a:solidFill>
            </a:rPr>
            <a:t> </a:t>
          </a:r>
        </a:p>
        <a:p>
          <a:pPr>
            <a:buFont typeface="Wingdings" panose="05000000000000000000" pitchFamily="2" charset="2"/>
            <a:buChar char="q"/>
          </a:pPr>
          <a:r>
            <a:rPr lang="en-US" sz="1200" dirty="0"/>
            <a:t>Drive Content and Product Discovery with Similar Items Recommendations.</a:t>
          </a:r>
        </a:p>
        <a:p>
          <a:pPr>
            <a:buFont typeface="Wingdings" panose="05000000000000000000" pitchFamily="2" charset="2"/>
            <a:buChar char="q"/>
          </a:pPr>
          <a:r>
            <a:rPr lang="en-US" sz="1200" b="1" dirty="0"/>
            <a:t>Functionality Leveraged</a:t>
          </a:r>
          <a:r>
            <a:rPr lang="en-US" sz="1200" dirty="0"/>
            <a:t> – Catalog + Einstein Recipes + Web Campaign</a:t>
          </a:r>
        </a:p>
      </dgm:t>
    </dgm:pt>
    <dgm:pt modelId="{0F55BBE8-C583-401A-85AA-E3A895542DEA}" type="parTrans" cxnId="{95A9E5B9-C497-49F1-A059-9488B324E325}">
      <dgm:prSet/>
      <dgm:spPr/>
      <dgm:t>
        <a:bodyPr/>
        <a:lstStyle/>
        <a:p>
          <a:endParaRPr lang="en-US"/>
        </a:p>
      </dgm:t>
    </dgm:pt>
    <dgm:pt modelId="{E9D047FB-9377-4AE3-8D3D-379CBD0C670A}" type="sibTrans" cxnId="{95A9E5B9-C497-49F1-A059-9488B324E325}">
      <dgm:prSet/>
      <dgm:spPr/>
      <dgm:t>
        <a:bodyPr/>
        <a:lstStyle/>
        <a:p>
          <a:endParaRPr lang="en-US"/>
        </a:p>
      </dgm:t>
    </dgm:pt>
    <dgm:pt modelId="{40AB054B-DF93-4D39-A26C-648E1EC7F492}">
      <dgm:prSet phldrT="[Text]" custT="1"/>
      <dgm:spPr/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en-US" sz="1400" b="1" dirty="0">
              <a:solidFill>
                <a:schemeClr val="accent6"/>
              </a:solidFill>
            </a:rPr>
            <a:t>Use Case 2 (Travel &amp; Hospitality Industry):</a:t>
          </a:r>
          <a:r>
            <a:rPr lang="en-US" sz="1200" b="1" dirty="0">
              <a:solidFill>
                <a:schemeClr val="accent6"/>
              </a:solidFill>
            </a:rPr>
            <a:t> </a:t>
          </a:r>
        </a:p>
        <a:p>
          <a:pPr>
            <a:buFont typeface="Wingdings" panose="05000000000000000000" pitchFamily="2" charset="2"/>
            <a:buChar char="§"/>
          </a:pPr>
          <a:r>
            <a:rPr lang="en-US" sz="1200" dirty="0"/>
            <a:t>Abandoned Enquiry Form related a holiday</a:t>
          </a:r>
        </a:p>
        <a:p>
          <a:pPr>
            <a:buFont typeface="Wingdings" panose="05000000000000000000" pitchFamily="2" charset="2"/>
            <a:buChar char="§"/>
          </a:pPr>
          <a:r>
            <a:rPr lang="en-US" sz="1200" b="1" dirty="0"/>
            <a:t>Functionality Leveraged</a:t>
          </a:r>
          <a:r>
            <a:rPr lang="en-US" sz="1200" dirty="0"/>
            <a:t>- User Actions + User Segments based on interaction + Web Campaign </a:t>
          </a:r>
        </a:p>
      </dgm:t>
    </dgm:pt>
    <dgm:pt modelId="{D94777E0-4F0B-4563-853B-AF7CC11D360A}" type="parTrans" cxnId="{F5F88376-DC7B-4A43-9A8D-A728FB7F631A}">
      <dgm:prSet/>
      <dgm:spPr/>
      <dgm:t>
        <a:bodyPr/>
        <a:lstStyle/>
        <a:p>
          <a:endParaRPr lang="en-US"/>
        </a:p>
      </dgm:t>
    </dgm:pt>
    <dgm:pt modelId="{937F194B-C300-48FC-960B-8F85B6DA8DF0}" type="sibTrans" cxnId="{F5F88376-DC7B-4A43-9A8D-A728FB7F631A}">
      <dgm:prSet/>
      <dgm:spPr/>
      <dgm:t>
        <a:bodyPr/>
        <a:lstStyle/>
        <a:p>
          <a:endParaRPr lang="en-US"/>
        </a:p>
      </dgm:t>
    </dgm:pt>
    <dgm:pt modelId="{7BB81B67-173D-4937-8645-D166E90A17AA}">
      <dgm:prSet phldrT="[Text]" custT="1"/>
      <dgm:spPr/>
      <dgm:t>
        <a:bodyPr/>
        <a:lstStyle/>
        <a:p>
          <a:pPr>
            <a:buFont typeface="Wingdings" panose="05000000000000000000" pitchFamily="2" charset="2"/>
            <a:buChar char="q"/>
          </a:pPr>
          <a:r>
            <a:rPr lang="en-US" sz="1400" b="1" dirty="0">
              <a:solidFill>
                <a:schemeClr val="accent6"/>
              </a:solidFill>
            </a:rPr>
            <a:t>Use Case 3 (Consumer Goods Industry):</a:t>
          </a:r>
          <a:r>
            <a:rPr lang="en-US" sz="1600" b="1" dirty="0">
              <a:solidFill>
                <a:schemeClr val="accent6"/>
              </a:solidFill>
            </a:rPr>
            <a:t> </a:t>
          </a:r>
        </a:p>
        <a:p>
          <a:pPr>
            <a:buFont typeface="Wingdings" panose="05000000000000000000" pitchFamily="2" charset="2"/>
            <a:buChar char="q"/>
          </a:pPr>
          <a:r>
            <a:rPr lang="en-US" sz="1200" dirty="0"/>
            <a:t>Re-Engage Shoppers by Reminding of an Offer on Exit.</a:t>
          </a:r>
        </a:p>
        <a:p>
          <a:pPr>
            <a:buFont typeface="Wingdings" panose="05000000000000000000" pitchFamily="2" charset="2"/>
            <a:buChar char="q"/>
          </a:pPr>
          <a:r>
            <a:rPr lang="en-US" sz="1200" b="1" dirty="0"/>
            <a:t>Functionality Leveraged</a:t>
          </a:r>
          <a:r>
            <a:rPr lang="en-US" sz="1200" dirty="0"/>
            <a:t>-  User Action + Inactivity Behavioral Segment + Pop up Campaign.</a:t>
          </a:r>
        </a:p>
        <a:p>
          <a:pPr>
            <a:buFont typeface="Wingdings" panose="05000000000000000000" pitchFamily="2" charset="2"/>
            <a:buChar char="q"/>
          </a:pPr>
          <a:endParaRPr lang="en-US" sz="1600" dirty="0"/>
        </a:p>
      </dgm:t>
    </dgm:pt>
    <dgm:pt modelId="{9C8A7FDD-CC65-410F-A93F-889580B19D75}" type="parTrans" cxnId="{77778BF4-D588-476A-9C85-CA42C32F23B2}">
      <dgm:prSet/>
      <dgm:spPr/>
      <dgm:t>
        <a:bodyPr/>
        <a:lstStyle/>
        <a:p>
          <a:endParaRPr lang="en-US"/>
        </a:p>
      </dgm:t>
    </dgm:pt>
    <dgm:pt modelId="{E4D40F17-93EC-40C8-8C76-DA630AC78E77}" type="sibTrans" cxnId="{77778BF4-D588-476A-9C85-CA42C32F23B2}">
      <dgm:prSet/>
      <dgm:spPr/>
      <dgm:t>
        <a:bodyPr/>
        <a:lstStyle/>
        <a:p>
          <a:endParaRPr lang="en-US"/>
        </a:p>
      </dgm:t>
    </dgm:pt>
    <dgm:pt modelId="{33EEE80F-3220-4C56-AA32-AE620E7EA60E}">
      <dgm:prSet phldrT="[Text]" custT="1"/>
      <dgm:spPr/>
      <dgm:t>
        <a:bodyPr/>
        <a:lstStyle/>
        <a:p>
          <a:pPr>
            <a:buFont typeface="Wingdings" panose="05000000000000000000" pitchFamily="2" charset="2"/>
            <a:buChar char="q"/>
          </a:pPr>
          <a:endParaRPr lang="en-US" sz="1200" b="1" dirty="0">
            <a:solidFill>
              <a:schemeClr val="accent6"/>
            </a:solidFill>
          </a:endParaRPr>
        </a:p>
        <a:p>
          <a:pPr>
            <a:buFont typeface="Wingdings" panose="05000000000000000000" pitchFamily="2" charset="2"/>
            <a:buChar char="q"/>
          </a:pPr>
          <a:endParaRPr lang="en-US" sz="1200" b="1" dirty="0">
            <a:solidFill>
              <a:schemeClr val="accent6"/>
            </a:solidFill>
          </a:endParaRPr>
        </a:p>
        <a:p>
          <a:pPr>
            <a:buFont typeface="Wingdings" panose="05000000000000000000" pitchFamily="2" charset="2"/>
            <a:buChar char="q"/>
          </a:pPr>
          <a:r>
            <a:rPr lang="en-US" sz="1400" b="1" dirty="0">
              <a:solidFill>
                <a:schemeClr val="accent6"/>
              </a:solidFill>
            </a:rPr>
            <a:t>Use Case 4 (Financial Services):</a:t>
          </a:r>
          <a:r>
            <a:rPr lang="en-US" sz="1200" b="1" dirty="0">
              <a:solidFill>
                <a:schemeClr val="accent6"/>
              </a:solidFill>
            </a:rPr>
            <a:t> </a:t>
          </a:r>
          <a:endParaRPr lang="en-US" sz="1200" dirty="0"/>
        </a:p>
      </dgm:t>
    </dgm:pt>
    <dgm:pt modelId="{6798514B-F753-4261-8A71-1B8AC97B95A2}" type="parTrans" cxnId="{BBCBB908-F95B-480C-AB19-099886D2675B}">
      <dgm:prSet/>
      <dgm:spPr/>
      <dgm:t>
        <a:bodyPr/>
        <a:lstStyle/>
        <a:p>
          <a:endParaRPr lang="en-US"/>
        </a:p>
      </dgm:t>
    </dgm:pt>
    <dgm:pt modelId="{A48C6E96-5D0B-47FB-9557-0B16F586D93C}" type="sibTrans" cxnId="{BBCBB908-F95B-480C-AB19-099886D2675B}">
      <dgm:prSet/>
      <dgm:spPr/>
      <dgm:t>
        <a:bodyPr/>
        <a:lstStyle/>
        <a:p>
          <a:endParaRPr lang="en-US"/>
        </a:p>
      </dgm:t>
    </dgm:pt>
    <dgm:pt modelId="{0A40EBAC-467F-4433-B052-6B56E8AF9346}">
      <dgm:prSet custT="1"/>
      <dgm:spPr/>
      <dgm:t>
        <a:bodyPr/>
        <a:lstStyle/>
        <a:p>
          <a:pPr>
            <a:buNone/>
          </a:pPr>
          <a:r>
            <a:rPr lang="en-US" sz="1200" dirty="0"/>
            <a:t>Carryover Message for Customer Showing Intent in a policy</a:t>
          </a:r>
          <a:endParaRPr lang="en-US" sz="900" dirty="0"/>
        </a:p>
      </dgm:t>
    </dgm:pt>
    <dgm:pt modelId="{7A73979B-2C79-4BD0-B16C-FB49C2C8300A}" type="parTrans" cxnId="{B6D404FB-A454-4B96-AF77-A9BA7570B0C4}">
      <dgm:prSet/>
      <dgm:spPr/>
      <dgm:t>
        <a:bodyPr/>
        <a:lstStyle/>
        <a:p>
          <a:endParaRPr lang="en-US"/>
        </a:p>
      </dgm:t>
    </dgm:pt>
    <dgm:pt modelId="{3FE40D66-E4E2-47AB-936E-525CFA1D3671}" type="sibTrans" cxnId="{B6D404FB-A454-4B96-AF77-A9BA7570B0C4}">
      <dgm:prSet/>
      <dgm:spPr/>
      <dgm:t>
        <a:bodyPr/>
        <a:lstStyle/>
        <a:p>
          <a:endParaRPr lang="en-US"/>
        </a:p>
      </dgm:t>
    </dgm:pt>
    <dgm:pt modelId="{BC985712-E8F7-4CD3-810A-F08D19BA2B4B}">
      <dgm:prSet/>
      <dgm:spPr/>
      <dgm:t>
        <a:bodyPr/>
        <a:lstStyle/>
        <a:p>
          <a:endParaRPr lang="en-US"/>
        </a:p>
      </dgm:t>
    </dgm:pt>
    <dgm:pt modelId="{8FA0F116-BFE6-4983-9254-CF582AB60097}" type="parTrans" cxnId="{FA1ED16D-BE51-47B9-8CAC-A42A6E341752}">
      <dgm:prSet/>
      <dgm:spPr/>
      <dgm:t>
        <a:bodyPr/>
        <a:lstStyle/>
        <a:p>
          <a:endParaRPr lang="en-US"/>
        </a:p>
      </dgm:t>
    </dgm:pt>
    <dgm:pt modelId="{6EBB94AC-D019-40FF-85AC-9D26B9049988}" type="sibTrans" cxnId="{FA1ED16D-BE51-47B9-8CAC-A42A6E341752}">
      <dgm:prSet/>
      <dgm:spPr/>
      <dgm:t>
        <a:bodyPr/>
        <a:lstStyle/>
        <a:p>
          <a:endParaRPr lang="en-US"/>
        </a:p>
      </dgm:t>
    </dgm:pt>
    <dgm:pt modelId="{052B34DB-F335-47EB-BA4C-A1EF2A5649FE}">
      <dgm:prSet custT="1"/>
      <dgm:spPr/>
      <dgm:t>
        <a:bodyPr/>
        <a:lstStyle/>
        <a:p>
          <a:pPr>
            <a:buNone/>
          </a:pPr>
          <a:r>
            <a:rPr lang="en-US" sz="900" dirty="0"/>
            <a:t> </a:t>
          </a:r>
          <a:r>
            <a:rPr lang="en-US" sz="1200" b="1" dirty="0"/>
            <a:t>Functionality Leveraged- </a:t>
          </a:r>
          <a:r>
            <a:rPr lang="en-US" sz="1200" b="0" dirty="0"/>
            <a:t>User Actions + Action Based Segment + Web Campaign</a:t>
          </a:r>
          <a:endParaRPr lang="en-US" sz="1200" dirty="0"/>
        </a:p>
      </dgm:t>
    </dgm:pt>
    <dgm:pt modelId="{6241E7AE-1A6B-40DC-9933-D07BC0C94133}" type="parTrans" cxnId="{3DA19DC1-FE96-4335-BE2B-72B79B77DD4B}">
      <dgm:prSet/>
      <dgm:spPr/>
      <dgm:t>
        <a:bodyPr/>
        <a:lstStyle/>
        <a:p>
          <a:endParaRPr lang="en-US"/>
        </a:p>
      </dgm:t>
    </dgm:pt>
    <dgm:pt modelId="{B5CB2012-AC15-4FBB-8FFC-E533D5479D08}" type="sibTrans" cxnId="{3DA19DC1-FE96-4335-BE2B-72B79B77DD4B}">
      <dgm:prSet/>
      <dgm:spPr/>
      <dgm:t>
        <a:bodyPr/>
        <a:lstStyle/>
        <a:p>
          <a:endParaRPr lang="en-US"/>
        </a:p>
      </dgm:t>
    </dgm:pt>
    <dgm:pt modelId="{F9E19C9C-39FD-4A6C-AB5B-A04D0EAD9ECB}" type="pres">
      <dgm:prSet presAssocID="{5B99A442-B0CA-4FA6-AA32-1218E7AE7D5F}" presName="Name0" presStyleCnt="0">
        <dgm:presLayoutVars>
          <dgm:chMax val="1"/>
          <dgm:chPref val="1"/>
          <dgm:dir/>
          <dgm:resizeHandles/>
        </dgm:presLayoutVars>
      </dgm:prSet>
      <dgm:spPr/>
    </dgm:pt>
    <dgm:pt modelId="{177ECF07-B0FF-436F-BE45-AB331753A3D3}" type="pres">
      <dgm:prSet presAssocID="{BAEB0C4C-6DA7-47D0-BF00-3779D83672E0}" presName="Parent" presStyleLbl="node1" presStyleIdx="0" presStyleCnt="2">
        <dgm:presLayoutVars>
          <dgm:chMax val="4"/>
          <dgm:chPref val="3"/>
        </dgm:presLayoutVars>
      </dgm:prSet>
      <dgm:spPr/>
    </dgm:pt>
    <dgm:pt modelId="{50B46943-1A68-48BF-8642-C61C35B50EDB}" type="pres">
      <dgm:prSet presAssocID="{D5ADCA39-6F91-4593-A44F-282370A5902A}" presName="Accent" presStyleLbl="node1" presStyleIdx="1" presStyleCnt="2"/>
      <dgm:spPr/>
    </dgm:pt>
    <dgm:pt modelId="{C0523D6F-2128-412C-9272-2F27F828144D}" type="pres">
      <dgm:prSet presAssocID="{D5ADCA39-6F91-4593-A44F-282370A5902A}" presName="Image1" presStyleLbl="fgImgPlace1" presStyleIdx="0" presStyleCnt="4"/>
      <dgm:spPr/>
    </dgm:pt>
    <dgm:pt modelId="{6FEF646F-B869-4A01-85F4-7B3F2A20C3AA}" type="pres">
      <dgm:prSet presAssocID="{D5ADCA39-6F91-4593-A44F-282370A5902A}" presName="Child1" presStyleLbl="revTx" presStyleIdx="0" presStyleCnt="4" custScaleX="264611" custScaleY="81496" custLinFactNeighborX="83268" custLinFactNeighborY="-11917">
        <dgm:presLayoutVars>
          <dgm:chMax val="0"/>
          <dgm:chPref val="0"/>
          <dgm:bulletEnabled val="1"/>
        </dgm:presLayoutVars>
      </dgm:prSet>
      <dgm:spPr/>
    </dgm:pt>
    <dgm:pt modelId="{246F4892-57D9-4B11-8876-3EBCAE809839}" type="pres">
      <dgm:prSet presAssocID="{40AB054B-DF93-4D39-A26C-648E1EC7F492}" presName="Image2" presStyleCnt="0"/>
      <dgm:spPr/>
    </dgm:pt>
    <dgm:pt modelId="{BE687064-B9A0-46C7-ABBE-C6EF2BCE19F9}" type="pres">
      <dgm:prSet presAssocID="{40AB054B-DF93-4D39-A26C-648E1EC7F492}" presName="Image" presStyleLbl="fgImgPlace1" presStyleIdx="1" presStyleCnt="4"/>
      <dgm:spPr/>
    </dgm:pt>
    <dgm:pt modelId="{EA09370F-9BA0-4AD7-A4C6-C1CFADF46607}" type="pres">
      <dgm:prSet presAssocID="{40AB054B-DF93-4D39-A26C-648E1EC7F492}" presName="Child2" presStyleLbl="revTx" presStyleIdx="1" presStyleCnt="4" custScaleX="224473" custScaleY="78398" custLinFactNeighborX="61114" custLinFactNeighborY="722">
        <dgm:presLayoutVars>
          <dgm:chMax val="0"/>
          <dgm:chPref val="0"/>
          <dgm:bulletEnabled val="1"/>
        </dgm:presLayoutVars>
      </dgm:prSet>
      <dgm:spPr/>
    </dgm:pt>
    <dgm:pt modelId="{1E8EF199-05B1-4372-95AE-D37136026BF1}" type="pres">
      <dgm:prSet presAssocID="{7BB81B67-173D-4937-8645-D166E90A17AA}" presName="Image3" presStyleCnt="0"/>
      <dgm:spPr/>
    </dgm:pt>
    <dgm:pt modelId="{95FF8BE0-6251-4860-981B-AC60B8DDD7C5}" type="pres">
      <dgm:prSet presAssocID="{7BB81B67-173D-4937-8645-D166E90A17AA}" presName="Image" presStyleLbl="fgImgPlace1" presStyleIdx="2" presStyleCnt="4"/>
      <dgm:spPr/>
    </dgm:pt>
    <dgm:pt modelId="{8FB3C651-21C9-4FA9-915D-E7E7EC1B484B}" type="pres">
      <dgm:prSet presAssocID="{7BB81B67-173D-4937-8645-D166E90A17AA}" presName="Child3" presStyleLbl="revTx" presStyleIdx="2" presStyleCnt="4" custScaleX="259080" custLinFactNeighborX="80672" custLinFactNeighborY="1346">
        <dgm:presLayoutVars>
          <dgm:chMax val="0"/>
          <dgm:chPref val="0"/>
          <dgm:bulletEnabled val="1"/>
        </dgm:presLayoutVars>
      </dgm:prSet>
      <dgm:spPr/>
    </dgm:pt>
    <dgm:pt modelId="{17FAD9A7-005C-48DA-A403-55BA7C52E797}" type="pres">
      <dgm:prSet presAssocID="{33EEE80F-3220-4C56-AA32-AE620E7EA60E}" presName="Image4" presStyleCnt="0"/>
      <dgm:spPr/>
    </dgm:pt>
    <dgm:pt modelId="{F8ECF9CF-8A36-44E1-BF14-BE91108841B5}" type="pres">
      <dgm:prSet presAssocID="{33EEE80F-3220-4C56-AA32-AE620E7EA60E}" presName="Image" presStyleLbl="fgImgPlace1" presStyleIdx="3" presStyleCnt="4"/>
      <dgm:spPr/>
    </dgm:pt>
    <dgm:pt modelId="{D8EBBA22-B699-4E77-AF01-B401A1CB8CDF}" type="pres">
      <dgm:prSet presAssocID="{33EEE80F-3220-4C56-AA32-AE620E7EA60E}" presName="Child4" presStyleLbl="revTx" presStyleIdx="3" presStyleCnt="4" custScaleX="268724" custScaleY="127225" custLinFactNeighborX="86610" custLinFactNeighborY="6617">
        <dgm:presLayoutVars>
          <dgm:chMax val="0"/>
          <dgm:chPref val="0"/>
          <dgm:bulletEnabled val="1"/>
        </dgm:presLayoutVars>
      </dgm:prSet>
      <dgm:spPr/>
    </dgm:pt>
  </dgm:ptLst>
  <dgm:cxnLst>
    <dgm:cxn modelId="{BBCBB908-F95B-480C-AB19-099886D2675B}" srcId="{BAEB0C4C-6DA7-47D0-BF00-3779D83672E0}" destId="{33EEE80F-3220-4C56-AA32-AE620E7EA60E}" srcOrd="3" destOrd="0" parTransId="{6798514B-F753-4261-8A71-1B8AC97B95A2}" sibTransId="{A48C6E96-5D0B-47FB-9557-0B16F586D93C}"/>
    <dgm:cxn modelId="{1225080F-6FAA-404C-A0B8-759BA6F80F29}" type="presOf" srcId="{052B34DB-F335-47EB-BA4C-A1EF2A5649FE}" destId="{D8EBBA22-B699-4E77-AF01-B401A1CB8CDF}" srcOrd="0" destOrd="2" presId="urn:microsoft.com/office/officeart/2011/layout/RadialPictureList"/>
    <dgm:cxn modelId="{3415A917-D3D3-4AAD-BFB3-03B34BCFB30A}" type="presOf" srcId="{BAEB0C4C-6DA7-47D0-BF00-3779D83672E0}" destId="{177ECF07-B0FF-436F-BE45-AB331753A3D3}" srcOrd="0" destOrd="0" presId="urn:microsoft.com/office/officeart/2011/layout/RadialPictureList"/>
    <dgm:cxn modelId="{FA1ED16D-BE51-47B9-8CAC-A42A6E341752}" srcId="{BAEB0C4C-6DA7-47D0-BF00-3779D83672E0}" destId="{BC985712-E8F7-4CD3-810A-F08D19BA2B4B}" srcOrd="4" destOrd="0" parTransId="{8FA0F116-BFE6-4983-9254-CF582AB60097}" sibTransId="{6EBB94AC-D019-40FF-85AC-9D26B9049988}"/>
    <dgm:cxn modelId="{F5F88376-DC7B-4A43-9A8D-A728FB7F631A}" srcId="{BAEB0C4C-6DA7-47D0-BF00-3779D83672E0}" destId="{40AB054B-DF93-4D39-A26C-648E1EC7F492}" srcOrd="1" destOrd="0" parTransId="{D94777E0-4F0B-4563-853B-AF7CC11D360A}" sibTransId="{937F194B-C300-48FC-960B-8F85B6DA8DF0}"/>
    <dgm:cxn modelId="{91237A85-F900-4153-AC81-3A395FB51B22}" srcId="{5B99A442-B0CA-4FA6-AA32-1218E7AE7D5F}" destId="{BAEB0C4C-6DA7-47D0-BF00-3779D83672E0}" srcOrd="0" destOrd="0" parTransId="{F36BB0B9-ADAD-4CC6-AB19-BE764D58A13E}" sibTransId="{C950F11E-DEE8-4712-822F-A58CDCEFE54B}"/>
    <dgm:cxn modelId="{DB7E1B97-6EBD-4E2B-9228-FAFDD0027121}" type="presOf" srcId="{D5ADCA39-6F91-4593-A44F-282370A5902A}" destId="{6FEF646F-B869-4A01-85F4-7B3F2A20C3AA}" srcOrd="0" destOrd="0" presId="urn:microsoft.com/office/officeart/2011/layout/RadialPictureList"/>
    <dgm:cxn modelId="{D72D61A0-D64E-4759-A09F-5F420C6ECC31}" type="presOf" srcId="{33EEE80F-3220-4C56-AA32-AE620E7EA60E}" destId="{D8EBBA22-B699-4E77-AF01-B401A1CB8CDF}" srcOrd="0" destOrd="0" presId="urn:microsoft.com/office/officeart/2011/layout/RadialPictureList"/>
    <dgm:cxn modelId="{95A9E5B9-C497-49F1-A059-9488B324E325}" srcId="{BAEB0C4C-6DA7-47D0-BF00-3779D83672E0}" destId="{D5ADCA39-6F91-4593-A44F-282370A5902A}" srcOrd="0" destOrd="0" parTransId="{0F55BBE8-C583-401A-85AA-E3A895542DEA}" sibTransId="{E9D047FB-9377-4AE3-8D3D-379CBD0C670A}"/>
    <dgm:cxn modelId="{D4DDE2BB-DEAA-4606-9C4B-AB1D18E7586A}" type="presOf" srcId="{5B99A442-B0CA-4FA6-AA32-1218E7AE7D5F}" destId="{F9E19C9C-39FD-4A6C-AB5B-A04D0EAD9ECB}" srcOrd="0" destOrd="0" presId="urn:microsoft.com/office/officeart/2011/layout/RadialPictureList"/>
    <dgm:cxn modelId="{B61FBAC0-2500-4BE7-9451-DE656485229D}" type="presOf" srcId="{40AB054B-DF93-4D39-A26C-648E1EC7F492}" destId="{EA09370F-9BA0-4AD7-A4C6-C1CFADF46607}" srcOrd="0" destOrd="0" presId="urn:microsoft.com/office/officeart/2011/layout/RadialPictureList"/>
    <dgm:cxn modelId="{3DA19DC1-FE96-4335-BE2B-72B79B77DD4B}" srcId="{33EEE80F-3220-4C56-AA32-AE620E7EA60E}" destId="{052B34DB-F335-47EB-BA4C-A1EF2A5649FE}" srcOrd="1" destOrd="0" parTransId="{6241E7AE-1A6B-40DC-9933-D07BC0C94133}" sibTransId="{B5CB2012-AC15-4FBB-8FFC-E533D5479D08}"/>
    <dgm:cxn modelId="{D6BF68E4-B945-47D0-877F-56771A1BFE72}" type="presOf" srcId="{0A40EBAC-467F-4433-B052-6B56E8AF9346}" destId="{D8EBBA22-B699-4E77-AF01-B401A1CB8CDF}" srcOrd="0" destOrd="1" presId="urn:microsoft.com/office/officeart/2011/layout/RadialPictureList"/>
    <dgm:cxn modelId="{B8EA31F0-A7A3-4487-BD8D-9479E010383D}" type="presOf" srcId="{7BB81B67-173D-4937-8645-D166E90A17AA}" destId="{8FB3C651-21C9-4FA9-915D-E7E7EC1B484B}" srcOrd="0" destOrd="0" presId="urn:microsoft.com/office/officeart/2011/layout/RadialPictureList"/>
    <dgm:cxn modelId="{77778BF4-D588-476A-9C85-CA42C32F23B2}" srcId="{BAEB0C4C-6DA7-47D0-BF00-3779D83672E0}" destId="{7BB81B67-173D-4937-8645-D166E90A17AA}" srcOrd="2" destOrd="0" parTransId="{9C8A7FDD-CC65-410F-A93F-889580B19D75}" sibTransId="{E4D40F17-93EC-40C8-8C76-DA630AC78E77}"/>
    <dgm:cxn modelId="{B6D404FB-A454-4B96-AF77-A9BA7570B0C4}" srcId="{33EEE80F-3220-4C56-AA32-AE620E7EA60E}" destId="{0A40EBAC-467F-4433-B052-6B56E8AF9346}" srcOrd="0" destOrd="0" parTransId="{7A73979B-2C79-4BD0-B16C-FB49C2C8300A}" sibTransId="{3FE40D66-E4E2-47AB-936E-525CFA1D3671}"/>
    <dgm:cxn modelId="{7E26558F-35BC-43B7-B549-90DE78DF2420}" type="presParOf" srcId="{F9E19C9C-39FD-4A6C-AB5B-A04D0EAD9ECB}" destId="{177ECF07-B0FF-436F-BE45-AB331753A3D3}" srcOrd="0" destOrd="0" presId="urn:microsoft.com/office/officeart/2011/layout/RadialPictureList"/>
    <dgm:cxn modelId="{FAAFF2FF-D578-4332-AA69-FE85755A2F85}" type="presParOf" srcId="{F9E19C9C-39FD-4A6C-AB5B-A04D0EAD9ECB}" destId="{50B46943-1A68-48BF-8642-C61C35B50EDB}" srcOrd="1" destOrd="0" presId="urn:microsoft.com/office/officeart/2011/layout/RadialPictureList"/>
    <dgm:cxn modelId="{94260D45-90F6-4755-884C-058D38F6DF7D}" type="presParOf" srcId="{F9E19C9C-39FD-4A6C-AB5B-A04D0EAD9ECB}" destId="{C0523D6F-2128-412C-9272-2F27F828144D}" srcOrd="2" destOrd="0" presId="urn:microsoft.com/office/officeart/2011/layout/RadialPictureList"/>
    <dgm:cxn modelId="{92EF36A8-2FAE-44E5-A07F-C63C46B5F32F}" type="presParOf" srcId="{F9E19C9C-39FD-4A6C-AB5B-A04D0EAD9ECB}" destId="{6FEF646F-B869-4A01-85F4-7B3F2A20C3AA}" srcOrd="3" destOrd="0" presId="urn:microsoft.com/office/officeart/2011/layout/RadialPictureList"/>
    <dgm:cxn modelId="{3D228359-2191-4D67-B7C7-5566E9C81221}" type="presParOf" srcId="{F9E19C9C-39FD-4A6C-AB5B-A04D0EAD9ECB}" destId="{246F4892-57D9-4B11-8876-3EBCAE809839}" srcOrd="4" destOrd="0" presId="urn:microsoft.com/office/officeart/2011/layout/RadialPictureList"/>
    <dgm:cxn modelId="{FB4E2D4D-D0CF-4CFC-B925-E5D7EB6C6204}" type="presParOf" srcId="{246F4892-57D9-4B11-8876-3EBCAE809839}" destId="{BE687064-B9A0-46C7-ABBE-C6EF2BCE19F9}" srcOrd="0" destOrd="0" presId="urn:microsoft.com/office/officeart/2011/layout/RadialPictureList"/>
    <dgm:cxn modelId="{835A4404-56AE-4FDC-B58F-DC3F35DFA71A}" type="presParOf" srcId="{F9E19C9C-39FD-4A6C-AB5B-A04D0EAD9ECB}" destId="{EA09370F-9BA0-4AD7-A4C6-C1CFADF46607}" srcOrd="5" destOrd="0" presId="urn:microsoft.com/office/officeart/2011/layout/RadialPictureList"/>
    <dgm:cxn modelId="{EFCB0757-9CBA-4E31-A023-55C11CA3B6F6}" type="presParOf" srcId="{F9E19C9C-39FD-4A6C-AB5B-A04D0EAD9ECB}" destId="{1E8EF199-05B1-4372-95AE-D37136026BF1}" srcOrd="6" destOrd="0" presId="urn:microsoft.com/office/officeart/2011/layout/RadialPictureList"/>
    <dgm:cxn modelId="{0BDEA6E0-003D-4AB8-BFDB-32CE2E365A44}" type="presParOf" srcId="{1E8EF199-05B1-4372-95AE-D37136026BF1}" destId="{95FF8BE0-6251-4860-981B-AC60B8DDD7C5}" srcOrd="0" destOrd="0" presId="urn:microsoft.com/office/officeart/2011/layout/RadialPictureList"/>
    <dgm:cxn modelId="{0884A581-8174-48F0-8AD1-3D069E257F6D}" type="presParOf" srcId="{F9E19C9C-39FD-4A6C-AB5B-A04D0EAD9ECB}" destId="{8FB3C651-21C9-4FA9-915D-E7E7EC1B484B}" srcOrd="7" destOrd="0" presId="urn:microsoft.com/office/officeart/2011/layout/RadialPictureList"/>
    <dgm:cxn modelId="{12323AD6-AC36-498F-96DB-89ACD6CACCAD}" type="presParOf" srcId="{F9E19C9C-39FD-4A6C-AB5B-A04D0EAD9ECB}" destId="{17FAD9A7-005C-48DA-A403-55BA7C52E797}" srcOrd="8" destOrd="0" presId="urn:microsoft.com/office/officeart/2011/layout/RadialPictureList"/>
    <dgm:cxn modelId="{C6C7A2A7-6EE2-4110-A05B-2DE473048339}" type="presParOf" srcId="{17FAD9A7-005C-48DA-A403-55BA7C52E797}" destId="{F8ECF9CF-8A36-44E1-BF14-BE91108841B5}" srcOrd="0" destOrd="0" presId="urn:microsoft.com/office/officeart/2011/layout/RadialPictureList"/>
    <dgm:cxn modelId="{7B1431F3-AD2B-4649-8F89-754BE14C0953}" type="presParOf" srcId="{F9E19C9C-39FD-4A6C-AB5B-A04D0EAD9ECB}" destId="{D8EBBA22-B699-4E77-AF01-B401A1CB8CDF}" srcOrd="9" destOrd="0" presId="urn:microsoft.com/office/officeart/2011/layout/RadialPictur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7ECF07-B0FF-436F-BE45-AB331753A3D3}">
      <dsp:nvSpPr>
        <dsp:cNvPr id="0" name=""/>
        <dsp:cNvSpPr/>
      </dsp:nvSpPr>
      <dsp:spPr>
        <a:xfrm>
          <a:off x="2351402" y="1254978"/>
          <a:ext cx="2069908" cy="2069723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420" tIns="58420" rIns="58420" bIns="58420" numCol="1" spcCol="1270" anchor="ctr" anchorCtr="0">
          <a:noAutofit/>
        </a:bodyPr>
        <a:lstStyle/>
        <a:p>
          <a:pPr marL="0" lvl="0" indent="0" algn="ctr" defTabSz="2044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600" kern="1200" dirty="0"/>
        </a:p>
      </dsp:txBody>
      <dsp:txXfrm>
        <a:off x="2654533" y="1558082"/>
        <a:ext cx="1463646" cy="1463515"/>
      </dsp:txXfrm>
    </dsp:sp>
    <dsp:sp modelId="{50B46943-1A68-48BF-8642-C61C35B50EDB}">
      <dsp:nvSpPr>
        <dsp:cNvPr id="0" name=""/>
        <dsp:cNvSpPr/>
      </dsp:nvSpPr>
      <dsp:spPr>
        <a:xfrm>
          <a:off x="1284239" y="104029"/>
          <a:ext cx="4172025" cy="4348924"/>
        </a:xfrm>
        <a:prstGeom prst="blockArc">
          <a:avLst>
            <a:gd name="adj1" fmla="val 16509444"/>
            <a:gd name="adj2" fmla="val 5088054"/>
            <a:gd name="adj3" fmla="val 524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523D6F-2128-412C-9272-2F27F828144D}">
      <dsp:nvSpPr>
        <dsp:cNvPr id="0" name=""/>
        <dsp:cNvSpPr/>
      </dsp:nvSpPr>
      <dsp:spPr>
        <a:xfrm>
          <a:off x="3867066" y="-66674"/>
          <a:ext cx="1109096" cy="1108864"/>
        </a:xfrm>
        <a:prstGeom prst="ellipse">
          <a:avLst/>
        </a:prstGeom>
        <a:solidFill>
          <a:schemeClr val="accent6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FEF646F-B869-4A01-85F4-7B3F2A20C3AA}">
      <dsp:nvSpPr>
        <dsp:cNvPr id="0" name=""/>
        <dsp:cNvSpPr/>
      </dsp:nvSpPr>
      <dsp:spPr>
        <a:xfrm>
          <a:off x="5074926" y="0"/>
          <a:ext cx="3928599" cy="8747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10000"/>
            </a:spcAft>
            <a:buFont typeface="Wingdings" panose="05000000000000000000" pitchFamily="2" charset="2"/>
            <a:buNone/>
          </a:pPr>
          <a:r>
            <a:rPr lang="en-US" sz="1400" b="1" kern="1200" dirty="0">
              <a:solidFill>
                <a:schemeClr val="accent6"/>
              </a:solidFill>
            </a:rPr>
            <a:t>Use Case 1 (Consumer Goods Industry):</a:t>
          </a:r>
          <a:r>
            <a:rPr lang="en-US" sz="1300" b="1" kern="1200" dirty="0">
              <a:solidFill>
                <a:schemeClr val="accent6"/>
              </a:solidFill>
            </a:rPr>
            <a:t> 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10000"/>
            </a:spcAft>
            <a:buFont typeface="Wingdings" panose="05000000000000000000" pitchFamily="2" charset="2"/>
            <a:buNone/>
          </a:pPr>
          <a:r>
            <a:rPr lang="en-US" sz="1200" kern="1200" dirty="0"/>
            <a:t>Drive Content and Product Discovery with Similar Items Recommendations.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10000"/>
            </a:spcAft>
            <a:buFont typeface="Wingdings" panose="05000000000000000000" pitchFamily="2" charset="2"/>
            <a:buNone/>
          </a:pPr>
          <a:r>
            <a:rPr lang="en-US" sz="1200" b="1" kern="1200" dirty="0"/>
            <a:t>Functionality Leveraged</a:t>
          </a:r>
          <a:r>
            <a:rPr lang="en-US" sz="1200" kern="1200" dirty="0"/>
            <a:t> – Catalog + Einstein Recipes + Web Campaign</a:t>
          </a:r>
        </a:p>
      </dsp:txBody>
      <dsp:txXfrm>
        <a:off x="5074926" y="0"/>
        <a:ext cx="3928599" cy="874777"/>
      </dsp:txXfrm>
    </dsp:sp>
    <dsp:sp modelId="{BE687064-B9A0-46C7-ABBE-C6EF2BCE19F9}">
      <dsp:nvSpPr>
        <dsp:cNvPr id="0" name=""/>
        <dsp:cNvSpPr/>
      </dsp:nvSpPr>
      <dsp:spPr>
        <a:xfrm>
          <a:off x="4686278" y="966059"/>
          <a:ext cx="1109096" cy="1108864"/>
        </a:xfrm>
        <a:prstGeom prst="ellipse">
          <a:avLst/>
        </a:prstGeom>
        <a:solidFill>
          <a:schemeClr val="accent6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09370F-9BA0-4AD7-A4C6-C1CFADF46607}">
      <dsp:nvSpPr>
        <dsp:cNvPr id="0" name=""/>
        <dsp:cNvSpPr/>
      </dsp:nvSpPr>
      <dsp:spPr>
        <a:xfrm>
          <a:off x="5860144" y="1109134"/>
          <a:ext cx="3332682" cy="8415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10000"/>
            </a:spcAft>
            <a:buFont typeface="Wingdings" panose="05000000000000000000" pitchFamily="2" charset="2"/>
            <a:buNone/>
          </a:pPr>
          <a:r>
            <a:rPr lang="en-US" sz="1400" b="1" kern="1200" dirty="0">
              <a:solidFill>
                <a:schemeClr val="accent6"/>
              </a:solidFill>
            </a:rPr>
            <a:t>Use Case 2 (Travel &amp; Hospitality Industry):</a:t>
          </a:r>
          <a:r>
            <a:rPr lang="en-US" sz="1200" b="1" kern="1200" dirty="0">
              <a:solidFill>
                <a:schemeClr val="accent6"/>
              </a:solidFill>
            </a:rPr>
            <a:t> 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10000"/>
            </a:spcAft>
            <a:buFont typeface="Wingdings" panose="05000000000000000000" pitchFamily="2" charset="2"/>
            <a:buNone/>
          </a:pPr>
          <a:r>
            <a:rPr lang="en-US" sz="1200" kern="1200" dirty="0"/>
            <a:t>Abandoned Enquiry Form related a holiday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10000"/>
            </a:spcAft>
            <a:buFont typeface="Wingdings" panose="05000000000000000000" pitchFamily="2" charset="2"/>
            <a:buNone/>
          </a:pPr>
          <a:r>
            <a:rPr lang="en-US" sz="1200" b="1" kern="1200" dirty="0"/>
            <a:t>Functionality Leveraged</a:t>
          </a:r>
          <a:r>
            <a:rPr lang="en-US" sz="1200" kern="1200" dirty="0"/>
            <a:t>- User Actions + User Segments based on interaction + Web Campaign </a:t>
          </a:r>
        </a:p>
      </dsp:txBody>
      <dsp:txXfrm>
        <a:off x="5860144" y="1109134"/>
        <a:ext cx="3332682" cy="841524"/>
      </dsp:txXfrm>
    </dsp:sp>
    <dsp:sp modelId="{95FF8BE0-6251-4860-981B-AC60B8DDD7C5}">
      <dsp:nvSpPr>
        <dsp:cNvPr id="0" name=""/>
        <dsp:cNvSpPr/>
      </dsp:nvSpPr>
      <dsp:spPr>
        <a:xfrm>
          <a:off x="4682024" y="2484423"/>
          <a:ext cx="1109096" cy="1108864"/>
        </a:xfrm>
        <a:prstGeom prst="ellipse">
          <a:avLst/>
        </a:prstGeom>
        <a:solidFill>
          <a:schemeClr val="accent6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B3C651-21C9-4FA9-915D-E7E7EC1B484B}">
      <dsp:nvSpPr>
        <dsp:cNvPr id="0" name=""/>
        <dsp:cNvSpPr/>
      </dsp:nvSpPr>
      <dsp:spPr>
        <a:xfrm>
          <a:off x="5893616" y="2516840"/>
          <a:ext cx="3846482" cy="10733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10000"/>
            </a:spcAft>
            <a:buFont typeface="Wingdings" panose="05000000000000000000" pitchFamily="2" charset="2"/>
            <a:buNone/>
          </a:pPr>
          <a:r>
            <a:rPr lang="en-US" sz="1400" b="1" kern="1200" dirty="0">
              <a:solidFill>
                <a:schemeClr val="accent6"/>
              </a:solidFill>
            </a:rPr>
            <a:t>Use Case 3 (Consumer Goods Industry):</a:t>
          </a:r>
          <a:r>
            <a:rPr lang="en-US" sz="1600" b="1" kern="1200" dirty="0">
              <a:solidFill>
                <a:schemeClr val="accent6"/>
              </a:solidFill>
            </a:rPr>
            <a:t> 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10000"/>
            </a:spcAft>
            <a:buFont typeface="Wingdings" panose="05000000000000000000" pitchFamily="2" charset="2"/>
            <a:buNone/>
          </a:pPr>
          <a:r>
            <a:rPr lang="en-US" sz="1200" kern="1200" dirty="0"/>
            <a:t>Re-Engage Shoppers by Reminding of an Offer on Exit.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10000"/>
            </a:spcAft>
            <a:buFont typeface="Wingdings" panose="05000000000000000000" pitchFamily="2" charset="2"/>
            <a:buNone/>
          </a:pPr>
          <a:r>
            <a:rPr lang="en-US" sz="1200" b="1" kern="1200" dirty="0"/>
            <a:t>Functionality Leveraged</a:t>
          </a:r>
          <a:r>
            <a:rPr lang="en-US" sz="1200" kern="1200" dirty="0"/>
            <a:t>-  User Action + Inactivity Behavioral Segment + Pop up Campaign.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10000"/>
            </a:spcAft>
            <a:buFont typeface="Wingdings" panose="05000000000000000000" pitchFamily="2" charset="2"/>
            <a:buNone/>
          </a:pPr>
          <a:endParaRPr lang="en-US" sz="1600" kern="1200" dirty="0"/>
        </a:p>
      </dsp:txBody>
      <dsp:txXfrm>
        <a:off x="5893616" y="2516840"/>
        <a:ext cx="3846482" cy="1073399"/>
      </dsp:txXfrm>
    </dsp:sp>
    <dsp:sp modelId="{F8ECF9CF-8A36-44E1-BF14-BE91108841B5}">
      <dsp:nvSpPr>
        <dsp:cNvPr id="0" name=""/>
        <dsp:cNvSpPr/>
      </dsp:nvSpPr>
      <dsp:spPr>
        <a:xfrm>
          <a:off x="3867066" y="3553094"/>
          <a:ext cx="1109096" cy="1108864"/>
        </a:xfrm>
        <a:prstGeom prst="ellipse">
          <a:avLst/>
        </a:prstGeom>
        <a:solidFill>
          <a:schemeClr val="accent6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EBBA22-B699-4E77-AF01-B401A1CB8CDF}">
      <dsp:nvSpPr>
        <dsp:cNvPr id="0" name=""/>
        <dsp:cNvSpPr/>
      </dsp:nvSpPr>
      <dsp:spPr>
        <a:xfrm>
          <a:off x="5094011" y="3429675"/>
          <a:ext cx="3989664" cy="13656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10000"/>
            </a:spcAft>
            <a:buFont typeface="Wingdings" panose="05000000000000000000" pitchFamily="2" charset="2"/>
            <a:buNone/>
          </a:pPr>
          <a:endParaRPr lang="en-US" sz="1200" b="1" kern="1200" dirty="0">
            <a:solidFill>
              <a:schemeClr val="accent6"/>
            </a:solidFill>
          </a:endParaRP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10000"/>
            </a:spcAft>
            <a:buFont typeface="Wingdings" panose="05000000000000000000" pitchFamily="2" charset="2"/>
            <a:buNone/>
          </a:pPr>
          <a:endParaRPr lang="en-US" sz="1200" b="1" kern="1200" dirty="0">
            <a:solidFill>
              <a:schemeClr val="accent6"/>
            </a:solidFill>
          </a:endParaRP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10000"/>
            </a:spcAft>
            <a:buFont typeface="Wingdings" panose="05000000000000000000" pitchFamily="2" charset="2"/>
            <a:buNone/>
          </a:pPr>
          <a:r>
            <a:rPr lang="en-US" sz="1400" b="1" kern="1200" dirty="0">
              <a:solidFill>
                <a:schemeClr val="accent6"/>
              </a:solidFill>
            </a:rPr>
            <a:t>Use Case 4 (Financial Services):</a:t>
          </a:r>
          <a:r>
            <a:rPr lang="en-US" sz="1200" b="1" kern="1200" dirty="0">
              <a:solidFill>
                <a:schemeClr val="accent6"/>
              </a:solidFill>
            </a:rPr>
            <a:t> 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200" kern="1200" dirty="0"/>
            <a:t>Carryover Message for Customer Showing Intent in a policy</a:t>
          </a:r>
          <a:endParaRPr lang="en-US" sz="900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900" kern="1200" dirty="0"/>
            <a:t> </a:t>
          </a:r>
          <a:r>
            <a:rPr lang="en-US" sz="1200" b="1" kern="1200" dirty="0"/>
            <a:t>Functionality Leveraged- </a:t>
          </a:r>
          <a:r>
            <a:rPr lang="en-US" sz="1200" b="0" kern="1200" dirty="0"/>
            <a:t>User Actions + Action Based Segment + Web Campaign</a:t>
          </a:r>
          <a:endParaRPr lang="en-US" sz="1200" kern="1200" dirty="0"/>
        </a:p>
      </dsp:txBody>
      <dsp:txXfrm>
        <a:off x="5094011" y="3429675"/>
        <a:ext cx="3989664" cy="13656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RadialPictureList">
  <dgm:title val="Radial Picture List"/>
  <dgm:desc val="Use to show relationships to a central idea. The Level 1 shape contains text and all Level 2 shapes contain a picture with corresponding text. Limited to four Level 2 pictures.  Unused pictures do not appear, but remain available if you switch layouts. Works best with a small amount of Level 2 text."/>
  <dgm:catLst>
    <dgm:cat type="picture" pri="2500"/>
    <dgm:cat type="officeonline" pri="2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10" destId="14" srcOrd="3" destOrd="0"/>
      </dgm:cxnLst>
      <dgm:bg/>
      <dgm:whole/>
    </dgm:dataModel>
  </dgm:clrData>
  <dgm:layoutNode name="Name0">
    <dgm:varLst>
      <dgm:chMax val="1"/>
      <dgm:chPref val="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Child1" refType="w" fact="0.76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5661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6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l" for="ch" forName="Parent" refType="w" fact="0.1777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l" for="ch" forName="Image1" refType="w" fact="0.5531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l" for="ch" forName="Image2" refType="w" fact="0.5531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l" for="ch" forName="Child1" refType="w" fact="0.7529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l" for="ch" forName="Child2" refType="w" fact="0.7529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7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4968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l" for="ch" forName="Image2" refType="w" fact="0.5661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l" for="ch" forName="Image3" refType="w" fact="0.4968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l" for="ch" forName="Child1" refType="w" fact="0.6897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l" for="ch" forName="Child2" refType="w" fact="0.76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l" for="ch" forName="Child3" refType="w" fact="0.6897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8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" refType="w" fact="0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l" for="ch" forName="Parent" refType="w" fact="0.1756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l" for="ch" forName="Image1" refType="w" fact="0.42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l" for="ch" forName="Image2" refType="w" fact="0.5598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l" for="ch" forName="Image3" refType="w" fact="0.5591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l" for="ch" forName="Image4" refType="w" fact="0.42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l" for="ch" forName="Child1" refType="w" fact="0.6214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l" for="ch" forName="Child2" refType="w" fact="0.7557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l" for="ch" forName="Child3" refType="w" fact="0.7557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l" for="ch" forName="Child4" refType="w" fact="0.6214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if>
      <dgm:else name="Name9">
        <dgm:choose name="Name10">
          <dgm:if name="Name11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2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Child1" refType="w" fact="0.24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4339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13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r" for="ch" forName="Parent" refType="w" fact="0.8223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r" for="ch" forName="Image1" refType="w" fact="0.4469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r" for="ch" forName="Image2" refType="w" fact="0.4469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r" for="ch" forName="Child1" refType="w" fact="0.2471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r" for="ch" forName="Child2" refType="w" fact="0.2471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14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5032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r" for="ch" forName="Image2" refType="w" fact="0.4339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r" for="ch" forName="Image3" refType="w" fact="0.5032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r" for="ch" forName="Child1" refType="w" fact="0.3103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r" for="ch" forName="Child2" refType="w" fact="0.24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r" for="ch" forName="Child3" refType="w" fact="0.3103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15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" refType="w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r" for="ch" forName="Parent" refType="w" fact="0.8244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r" for="ch" forName="Image1" refType="w" fact="0.57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r" for="ch" forName="Image2" refType="w" fact="0.4402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r" for="ch" forName="Image3" refType="w" fact="0.4409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r" for="ch" forName="Image4" refType="w" fact="0.57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r" for="ch" forName="Child1" refType="w" fact="0.3786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r" for="ch" forName="Child2" refType="w" fact="0.2443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r" for="ch" forName="Child3" refType="w" fact="0.2443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r" for="ch" forName="Child4" refType="w" fact="0.3786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else>
    </dgm:choose>
    <dgm:forEach name="wrapper" axis="self" ptType="parTrans">
      <dgm:forEach name="ImageRepeat" axis="self">
        <dgm:layoutNode name="Image" styleLbl="fgImgPlace1">
          <dgm:alg type="sp"/>
          <dgm:shape xmlns:r="http://schemas.openxmlformats.org/officeDocument/2006/relationships" type="ellipse" r:blip="" blipPhldr="1">
            <dgm:adjLst/>
          </dgm:shape>
          <dgm:presOf/>
        </dgm:layoutNode>
      </dgm:forEach>
    </dgm:forEach>
    <dgm:forEach name="Name16" axis="ch" ptType="node" cnt="1">
      <dgm:layoutNode name="Parent" styleLbl="node1">
        <dgm:varLst>
          <dgm:chMax val="4"/>
          <dgm:chPref val="3"/>
        </dgm:varLst>
        <dgm:alg type="tx"/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17" axis="ch ch" ptType="node node" st="1 1" cnt="1 1">
      <dgm:layoutNode name="Accent" styleLbl="node1">
        <dgm:alg type="sp"/>
        <dgm:choose name="Name18">
          <dgm:if name="Name19" func="var" arg="dir" op="equ" val="norm">
            <dgm:choose name="Name20">
              <dgm:if name="Name21" axis="followSib" ptType="node" func="cnt" op="equ" val="0">
                <dgm:shape xmlns:r="http://schemas.openxmlformats.org/officeDocument/2006/relationships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2" axis="followSib" ptType="node" func="cnt" op="equ" val="1">
                <dgm:shape xmlns:r="http://schemas.openxmlformats.org/officeDocument/2006/relationships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3" axis="followSib" ptType="node" func="cnt" op="equ" val="2">
                <dgm:shape xmlns:r="http://schemas.openxmlformats.org/officeDocument/2006/relationships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24">
                <dgm:shape xmlns:r="http://schemas.openxmlformats.org/officeDocument/2006/relationships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if>
          <dgm:else name="Name25">
            <dgm:choose name="Name26">
              <dgm:if name="Name27" axis="followSib" ptType="node" func="cnt" op="equ" val="0">
                <dgm:shape xmlns:r="http://schemas.openxmlformats.org/officeDocument/2006/relationships" rot="180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8" axis="followSib" ptType="node" func="cnt" op="equ" val="1">
                <dgm:shape xmlns:r="http://schemas.openxmlformats.org/officeDocument/2006/relationships" rot="180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9" axis="followSib" ptType="node" func="cnt" op="equ" val="2">
                <dgm:shape xmlns:r="http://schemas.openxmlformats.org/officeDocument/2006/relationships" rot="180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30">
                <dgm:shape xmlns:r="http://schemas.openxmlformats.org/officeDocument/2006/relationships" rot="180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else>
        </dgm:choose>
        <dgm:presOf/>
      </dgm:layoutNode>
      <dgm:layoutNode name="Image1" styleLbl="fgImgPlace1">
        <dgm:alg type="sp"/>
        <dgm:shape xmlns:r="http://schemas.openxmlformats.org/officeDocument/2006/relationships" type="ellipse" r:blip="" blipPhldr="1">
          <dgm:adjLst/>
        </dgm:shape>
        <dgm:presOf/>
      </dgm:layoutNode>
      <dgm:layoutNode name="Child1" styleLbl="revTx">
        <dgm:varLst>
          <dgm:chMax val="0"/>
          <dgm:chPref val="0"/>
          <dgm:bulletEnabled val="1"/>
        </dgm:varLst>
        <dgm:choose name="Name31">
          <dgm:if name="Name32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33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4" axis="ch ch" ptType="node node" st="1 2" cnt="1 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35" ref="ImageRepeat"/>
      </dgm:layoutNode>
      <dgm:layoutNode name="Child2" styleLbl="revTx">
        <dgm:varLst>
          <dgm:chMax val="0"/>
          <dgm:chPref val="0"/>
          <dgm:bulletEnabled val="1"/>
        </dgm:varLst>
        <dgm:choose name="Name36">
          <dgm:if name="Name37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38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9" axis="ch ch" ptType="node node" st="1 3" cnt="1 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40" ref="ImageRepeat"/>
      </dgm:layoutNode>
      <dgm:layoutNode name="Child3" styleLbl="revTx">
        <dgm:varLst>
          <dgm:chMax val="0"/>
          <dgm:chPref val="0"/>
          <dgm:bulletEnabled val="1"/>
        </dgm:varLst>
        <dgm:choose name="Name41">
          <dgm:if name="Name42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43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4" axis="ch ch" ptType="node node" st="1 4" cnt="1 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45" ref="ImageRepeat"/>
      </dgm:layoutNode>
      <dgm:layoutNode name="Child4" styleLbl="revTx">
        <dgm:varLst>
          <dgm:chMax val="0"/>
          <dgm:chPref val="0"/>
          <dgm:bulletEnabled val="1"/>
        </dgm:varLst>
        <dgm:choose name="Name46">
          <dgm:if name="Name47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48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E14738D-F42D-40FE-834E-CEC8ECA2748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F6E4FF-5236-41F1-9F35-7F22C31CFAA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051B18-BCBD-4DD0-B7C9-E9F93581A3B3}" type="datetimeFigureOut">
              <a:rPr lang="en-US" smtClean="0"/>
              <a:t>8/5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CAAE44-88F5-476B-8209-78587AD8709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Copyright @ 2020 Deloitte Development LLC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04A4C6-0F68-42F0-9EEB-EF0F066E3B6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D9C384-1A69-4198-BB40-B17D6271EF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0406314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BAE965-A903-49F8-8EA5-58D0CA4BFC07}" type="datetimeFigureOut">
              <a:rPr lang="en-US" smtClean="0"/>
              <a:t>8/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Copyright @ 2020 Deloitte Development LLC.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4309F9-3243-4F8B-A157-FBBF59F1A1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382170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A29533-27D6-4B93-AB15-90407570E98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Copyright @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557568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/>
          <a:lstStyle/>
          <a:p>
            <a:fld id="{B1FEB637-BC42-497E-9119-65CA0380A6EE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74597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70333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AE8421-9E0C-4B2F-B725-AAE1A226E6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BE5C0A0-C107-4C0A-B2A7-F2EF34504D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E42EFE-D131-41EB-90FF-2B077C5BC7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657A0-8367-471F-8C53-E6D115780FA5}" type="datetime1">
              <a:rPr lang="en-US" smtClean="0"/>
              <a:t>8/5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18B598-F3A8-40E8-9847-11A11CC9A5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@ 2020 Deloitte Development LLC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C6A894-213B-42E1-B981-33E5FAF8E2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8053D-D3D6-4900-B3A2-0AC1946A28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5073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2F8EA-6E83-465A-BCFF-3E4997129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DE2A814-2399-4FE2-BEC4-3FE48D0AE5B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BF6142-F877-40C3-8C5F-A6A51D927C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9B428-6236-4EFD-9E3E-AC6B57CA4D73}" type="datetime1">
              <a:rPr lang="en-US" smtClean="0"/>
              <a:t>8/5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C7E8C5-8C27-4424-A4FA-C3B4E4957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@ 2020 Deloitte Development LLC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002B49-C657-4757-85A0-CC172C33F3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8053D-D3D6-4900-B3A2-0AC1946A28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77959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8828D4F-1D67-4847-92B3-FDA9C55E322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1869AF1-7DDC-4E32-B149-B19D63A09D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66712-BDB4-4C6E-BC0A-620F42A778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D329BD-FBDA-4DC1-AB49-FEEF49415A93}" type="datetime1">
              <a:rPr lang="en-US" smtClean="0"/>
              <a:t>8/5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C79111-1F69-4D52-A1A1-1E4C82778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@ 2020 Deloitte Development LLC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CCDD30-0FE8-4E1A-9A5D-8CA12B1F20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8053D-D3D6-4900-B3A2-0AC1946A28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4718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03542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2921" y="1665291"/>
            <a:ext cx="9348787" cy="46339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6729245" algn="r"/>
              </a:tabLst>
              <a:defRPr sz="1300"/>
            </a:lvl1pPr>
            <a:lvl2pPr>
              <a:tabLst>
                <a:tab pos="6729245" algn="r"/>
              </a:tabLst>
              <a:defRPr sz="1300"/>
            </a:lvl2pPr>
            <a:lvl3pPr>
              <a:tabLst>
                <a:tab pos="6729245" algn="r"/>
              </a:tabLst>
              <a:defRPr sz="1300"/>
            </a:lvl3pPr>
            <a:lvl4pPr>
              <a:tabLst>
                <a:tab pos="6729245" algn="r"/>
              </a:tabLst>
              <a:defRPr sz="1300"/>
            </a:lvl4pPr>
            <a:lvl5pPr>
              <a:tabLst>
                <a:tab pos="5029074" algn="r"/>
              </a:tabLst>
              <a:defRPr sz="1300"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4464A84-542A-4D1A-8583-EEE0342E31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2EEE0C-4EE5-49C0-A99D-660B1A86B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5788235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D0DD3CDC-03F0-45B8-ACB9-85646491556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49325856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2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2400"/>
              </a:lnSpc>
              <a:defRPr sz="24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2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05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17D6D49-40DB-4B5E-91C7-B12BED91DDA4}"/>
              </a:ext>
            </a:extLst>
          </p:cNvPr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2B56F000-79C0-4179-8524-D9ACDA40DE3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3CED6E8-0988-4503-8A9C-7978FFC381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2C687D43-60C7-43AB-8911-DA778A3C21F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7E6A62ED-7286-474D-94F4-70E263F123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04C66DE6-1937-4416-B991-2E18A61B26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DB34AD3A-4C9A-421F-B1CB-0CC3CE3E882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4BEAFDCD-F937-4438-BAD2-7E961511BC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0518B2C5-6FC4-4210-8C90-05C2859C1F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D8243B4B-C757-43C3-AF9F-089552AEBB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3DAE9BC0-0457-4CD3-A551-64C8347B41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52543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2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05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2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2400"/>
              </a:lnSpc>
              <a:defRPr sz="24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182227E-579E-4532-A5CC-BAC597A2EB71}"/>
              </a:ext>
            </a:extLst>
          </p:cNvPr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39C72C34-6FFB-4CE7-B304-C8C74BF6C36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8DD3099C-72C7-4FA0-86A0-B67C325463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A346B900-C0DF-411B-8CA4-F1F42FADD5E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613AA319-AFB1-42C9-901B-8EDCF290F8E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7C98F536-510C-46EE-B359-F810D5B655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DCBFA1F5-173A-441A-A6FD-71FCDBF30A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1083DD0E-D155-404B-A6D6-B4804E93F1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953D3259-EB90-4A35-B743-E514431BA3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4FDAED7B-04A0-4660-92A8-D8107837CA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137EB39F-D265-46F7-A030-ED8CFA46BBD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12983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670836"/>
            <a:ext cx="105410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27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7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60660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05670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27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452A60FA-C95E-401E-9AF3-D27C8C88BCCB}"/>
              </a:ext>
            </a:extLst>
          </p:cNvPr>
          <p:cNvSpPr txBox="1"/>
          <p:nvPr/>
        </p:nvSpPr>
        <p:spPr>
          <a:xfrm>
            <a:off x="6335184" y="6477002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/>
        </p:nvSpPr>
        <p:spPr>
          <a:xfrm>
            <a:off x="501649" y="6477000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0 Deloitte Development LLC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66A349-D016-439D-A265-9A113E0DC1FD}"/>
              </a:ext>
            </a:extLst>
          </p:cNvPr>
          <p:cNvSpPr txBox="1"/>
          <p:nvPr userDrawn="1"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41140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05670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27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E8E60749-A3E0-4E09-BF50-6D6B361BEF91}"/>
              </a:ext>
            </a:extLst>
          </p:cNvPr>
          <p:cNvSpPr txBox="1"/>
          <p:nvPr/>
        </p:nvSpPr>
        <p:spPr>
          <a:xfrm>
            <a:off x="6335184" y="6477002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/>
        </p:nvSpPr>
        <p:spPr>
          <a:xfrm>
            <a:off x="501649" y="6477000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0 Deloitte Development LLC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EFB851A-9A52-4D1A-9531-091A228B7093}"/>
              </a:ext>
            </a:extLst>
          </p:cNvPr>
          <p:cNvSpPr txBox="1"/>
          <p:nvPr userDrawn="1"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09012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00149D-2346-4798-B80E-7F59DFF41A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EF8E27-6DA1-493D-8152-89803E072A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CCE3A9-3259-4D2E-8A3E-AE3B9CB6CB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ACFB2D-6247-4A10-8153-3A50BEE351E2}" type="datetime1">
              <a:rPr lang="en-US" smtClean="0"/>
              <a:t>8/5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4066DB-7C4A-46A5-9810-D5D52880AB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@ 2020 Deloitte Development LLC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F7AEAD-C85D-467D-B3BA-A0B65DC61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8053D-D3D6-4900-B3A2-0AC1946A28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6201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65288"/>
            <a:ext cx="9277349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700"/>
              </a:spcBef>
              <a:buFontTx/>
              <a:buNone/>
              <a:defRPr sz="270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30100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3" y="2052002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3" y="1674088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6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6797554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B52998-BAFF-4727-9F38-10E5378F1B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710213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927734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47060" algn="r"/>
              </a:tabLst>
              <a:defRPr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5047060" algn="r"/>
              </a:tabLst>
              <a:defRPr>
                <a:latin typeface="+mn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5047060" algn="r"/>
              </a:tabLst>
              <a:defRPr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5047060" algn="r"/>
              </a:tabLst>
              <a:defRPr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>
                <a:latin typeface="+mn-lt"/>
              </a:defRPr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2ED25F-F6FC-488E-B8A8-CFEA8E8A6F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30003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39"/>
              </a:spcBef>
              <a:defRPr sz="692">
                <a:solidFill>
                  <a:schemeClr val="tx1"/>
                </a:solidFill>
              </a:defRPr>
            </a:lvl1pPr>
            <a:lvl2pPr>
              <a:defRPr sz="727">
                <a:solidFill>
                  <a:schemeClr val="tx2"/>
                </a:solidFill>
              </a:defRPr>
            </a:lvl2pPr>
            <a:lvl3pPr>
              <a:defRPr sz="727">
                <a:solidFill>
                  <a:schemeClr val="tx2"/>
                </a:solidFill>
              </a:defRPr>
            </a:lvl3pPr>
            <a:lvl4pPr>
              <a:defRPr sz="692">
                <a:solidFill>
                  <a:schemeClr val="tx2"/>
                </a:solidFill>
              </a:defRPr>
            </a:lvl4pPr>
            <a:lvl5pPr>
              <a:defRPr sz="692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95300" y="1665288"/>
            <a:ext cx="2796541" cy="471646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16"/>
              </a:spcAft>
              <a:defRPr sz="727"/>
            </a:lvl1pPr>
            <a:lvl2pPr>
              <a:spcBef>
                <a:spcPts val="208"/>
              </a:spcBef>
              <a:defRPr/>
            </a:lvl2pPr>
            <a:lvl3pPr>
              <a:spcBef>
                <a:spcPts val="208"/>
              </a:spcBef>
              <a:defRPr/>
            </a:lvl3pPr>
            <a:lvl4pPr>
              <a:spcBef>
                <a:spcPts val="208"/>
              </a:spcBef>
              <a:defRPr/>
            </a:lvl4pPr>
            <a:lvl5pPr>
              <a:spcBef>
                <a:spcPts val="208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665289"/>
            <a:ext cx="7916331" cy="4716461"/>
          </a:xfrm>
        </p:spPr>
        <p:txBody>
          <a:bodyPr>
            <a:noAutofit/>
          </a:bodyPr>
          <a:lstStyle>
            <a:lvl1pPr marL="0" indent="0" algn="l">
              <a:spcBef>
                <a:spcPts val="1247"/>
              </a:spcBef>
              <a:buFontTx/>
              <a:buNone/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C42E5B2-CB73-494C-AEDA-92DED9F00538}"/>
              </a:ext>
            </a:extLst>
          </p:cNvPr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12C1795B-758F-49A8-B043-04FA792E1D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D9AA27D9-1A62-421F-88B1-0CE6ECF629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73F630E6-1CC2-4F70-9E09-307AE5304A6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9AC6F5C8-3A68-44F5-9E0C-87C778EC58C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9FFFA535-59D5-4C7A-946D-D0B8DBCE44F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0017862E-6379-4667-AA8A-7BD697E18C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4317C5F5-036E-4011-8B7D-7B572620A9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0A0D8CFF-8AD5-4D7F-B6B4-43E29B63DC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B972A6DD-DDA7-4BEC-9AE0-CDBE22EF18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B010F773-4463-4CEE-947C-340E5FBAC35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852139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665289"/>
            <a:ext cx="6240000" cy="4716463"/>
          </a:xfrm>
        </p:spPr>
        <p:txBody>
          <a:bodyPr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445642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>
                <a:latin typeface="+mn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F4E88F-BEA2-49FD-AB3A-CCBC65363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2732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90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40" y="1665290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73867457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91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6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850411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2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4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6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2484568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4431857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665289"/>
            <a:ext cx="6240000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CFBECF-F261-4066-B77C-A1FCF54AA0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E9BEEDA-6F6F-4BD9-B1D8-9731D1B037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8522009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8920D9-F23C-4854-9500-C60700BD24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844D05-AD3C-4577-ABDE-894D2034AD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1444DC-590B-462F-AD71-E7D9BDC2E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09741C-3B6A-47B9-8724-86C91DE00CFA}" type="datetime1">
              <a:rPr lang="en-US" smtClean="0"/>
              <a:t>8/5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97B700-8E69-4E77-8CD3-FB289DEEFA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@ 2020 Deloitte Development LLC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E25318-3A9F-4157-AF16-1D71783FF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8053D-D3D6-4900-B3A2-0AC1946A28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8130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3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575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009483-F3D1-4AD9-8031-CEB4620DB8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1FE75E2-F986-4CD3-8A43-338DEE272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8830293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1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2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7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2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2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6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8278624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1" y="3124200"/>
            <a:ext cx="2720468" cy="325754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3"/>
            <a:ext cx="2712000" cy="32611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5754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70" y="3108508"/>
            <a:ext cx="2697183" cy="327324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36819A-C0CE-4CC8-96BE-D57C8135F4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4F8B0D-4D62-4988-B307-1BB6BBEEC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5373425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4C2095-0900-4569-A109-645CF4777A8D}"/>
              </a:ext>
            </a:extLst>
          </p:cNvPr>
          <p:cNvSpPr/>
          <p:nvPr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8A3CDF-F5A1-44AC-9648-5A3D0461AB03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A9EEEA-4AE4-43FE-9262-BC961D83A4C2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14920E0-BAB9-44E6-A33A-5F4B6E751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B186F496-8F3D-4D1B-850D-31517B35E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C761CD0-A115-446B-9662-DC8BC9A4F3B6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2AFCD77-2840-4457-A8CC-250E024F5885}"/>
              </a:ext>
            </a:extLst>
          </p:cNvPr>
          <p:cNvSpPr/>
          <p:nvPr userDrawn="1"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3D724AF-B48B-4AA6-91C8-B438C37A88D1}"/>
              </a:ext>
            </a:extLst>
          </p:cNvPr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34AA612-2961-40D2-9A4E-EDAE9FEF230D}"/>
              </a:ext>
            </a:extLst>
          </p:cNvPr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829813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12875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6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3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46192" y="1857894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3703CC-2625-4A3C-9057-35BB359C858C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97003E-0D5A-4199-A9D0-BFB3CBF4A0D4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074C3BE-314B-470C-927B-DBC4A457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8EE9A28-CEAF-410C-B504-E930E2347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8C6EA4C-B76A-4261-B420-F9400DB4E471}"/>
              </a:ext>
            </a:extLst>
          </p:cNvPr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DB98A0D-4A0B-45A0-912D-4D61546E92C6}"/>
              </a:ext>
            </a:extLst>
          </p:cNvPr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961679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6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56704" y="1857894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504002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5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5" y="4249684"/>
            <a:ext cx="123938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4993" y="4249684"/>
            <a:ext cx="124416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3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32462FA-7D20-4E6B-9335-5F0CC56925D0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AF616D-3F67-4FD6-BC16-ABC13A0ACA22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986DCA-1B97-4EC9-A852-97E5340E26DC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1E9D44-54F1-4CE7-8FDF-78DC08D29E3F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E12908D-2FA0-48AB-B2FF-08FF433571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5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8DB1A9EF-276C-4FE9-B33D-E2267D9DB46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6195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2A7C1E0-8314-4B78-902A-0828B984B2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7297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057B8DE-1E5B-4E78-8FC1-456B14A880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46195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50019531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5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CD5B122-EABE-4ECA-819A-54D0AA2130F9}"/>
              </a:ext>
            </a:extLst>
          </p:cNvPr>
          <p:cNvSpPr/>
          <p:nvPr/>
        </p:nvSpPr>
        <p:spPr>
          <a:xfrm>
            <a:off x="4278313" y="1705968"/>
            <a:ext cx="363696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FF78E2E-2B9E-4E32-8A54-BC55293CD3C9}"/>
              </a:ext>
            </a:extLst>
          </p:cNvPr>
          <p:cNvSpPr/>
          <p:nvPr/>
        </p:nvSpPr>
        <p:spPr>
          <a:xfrm>
            <a:off x="469901" y="1705968"/>
            <a:ext cx="362743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0F314D-E019-4AD3-B954-818463FF0B9D}"/>
              </a:ext>
            </a:extLst>
          </p:cNvPr>
          <p:cNvSpPr/>
          <p:nvPr/>
        </p:nvSpPr>
        <p:spPr>
          <a:xfrm>
            <a:off x="8104177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39EC70-7463-4AC3-840B-4FCA6DF397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2875" y="1857893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85F1297-532C-478B-8C8C-A7A406ADF2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25939" y="1861483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2E6BFE1-0779-4417-985A-E1020673A1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48737" y="1857892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4064517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674089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400" y="1674089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674089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/>
          </p:nvPr>
        </p:nvSpPr>
        <p:spPr>
          <a:xfrm>
            <a:off x="501652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18"/>
          <p:cNvSpPr>
            <a:spLocks noGrp="1"/>
          </p:cNvSpPr>
          <p:nvPr>
            <p:ph idx="16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7"/>
          </p:nvPr>
        </p:nvSpPr>
        <p:spPr>
          <a:xfrm>
            <a:off x="8006400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15AF63-D425-4D3F-B484-4B7A0F329F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7002A92-1CF7-42F5-B761-7DB3C2CF1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0847909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6715C-C932-49B3-880D-8C5710C8F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167636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1465733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DC323C-AD25-4E8C-B52D-3B5B50A5D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06D97B-60B1-40EC-B6C5-76EF1CB77C5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E9CA34-F13D-4E23-951B-8522CEF3C8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E77B93-9319-425B-BB78-B0661B9BD3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E0FCD9-B64E-49B6-B890-38C8E86B40A5}" type="datetime1">
              <a:rPr lang="en-US" smtClean="0"/>
              <a:t>8/5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427D10-DAC8-41C8-9E54-42FC3F2DB4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@ 2020 Deloitte Development LLC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DD5B2D-D6DC-44C8-93F7-9BADA669D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8053D-D3D6-4900-B3A2-0AC1946A28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1044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488566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3224145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8281899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675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9" y="4211955"/>
            <a:ext cx="2319503" cy="1725448"/>
          </a:xfrm>
        </p:spPr>
        <p:txBody>
          <a:bodyPr anchor="ctr" anchorCtr="0"/>
          <a:lstStyle>
            <a:lvl1pPr algn="ctr">
              <a:defRPr sz="675">
                <a:solidFill>
                  <a:schemeClr val="bg1"/>
                </a:solidFill>
              </a:defRPr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1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713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73AC783-B7E6-42BB-A92D-0ADBC2997BD0}"/>
              </a:ext>
            </a:extLst>
          </p:cNvPr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9F2F744D-AEA8-4CF0-9A14-E2B8AD2410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E62CECF6-150D-469C-9E24-8A478A950A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5AD24CEC-D748-4AC1-BB7B-7A25E5679D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40C7F824-A886-4BC7-B778-20FA0AA995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2FA61C41-4509-484F-BCF2-C180FF43881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204D49B7-F599-46BF-BA65-9824F012BE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4836DFB0-FEE2-4420-9E5F-C49F952F18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085F925D-8AEB-48CC-8FB5-C3C2B0238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D492B745-F78F-4675-B594-05FC06EBB4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46FAB7FD-7A62-4416-99F4-89F16D7EA07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40822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6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9" y="4211955"/>
            <a:ext cx="2319503" cy="1725448"/>
          </a:xfrm>
        </p:spPr>
        <p:txBody>
          <a:bodyPr anchor="ctr" anchorCtr="0"/>
          <a:lstStyle>
            <a:lvl1pPr algn="ctr">
              <a:defRPr sz="675">
                <a:solidFill>
                  <a:schemeClr val="bg1"/>
                </a:solidFill>
              </a:defRPr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1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71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B6CCAF7-D53A-49D2-811F-A8F83A7B327B}"/>
              </a:ext>
            </a:extLst>
          </p:cNvPr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02856B76-941B-4ADA-8EF5-820A4B31FC4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F949CC49-8AC1-46F1-A9CB-7D1703D4A06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EAC81131-807B-481B-8BE9-7758F3EF20E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FB893F76-90D5-40E5-A58E-15D7125CDC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A7C1E91F-68E0-461B-9A19-8DDA2F52A7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DECCB569-588D-4D54-A458-11BACEF3151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4C5ED5F4-D1F6-43A7-A1F9-71BFAA6DE5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643F8374-D00F-4C56-8925-4FA56854E9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D52ADE88-EEC9-431F-A0AC-613B5DE707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2AE2FE11-C27C-49AF-B0C7-58BEFA645D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16147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2921" y="1665291"/>
            <a:ext cx="9348787" cy="46339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6729245" algn="r"/>
              </a:tabLst>
              <a:defRPr sz="1300"/>
            </a:lvl1pPr>
            <a:lvl2pPr>
              <a:tabLst>
                <a:tab pos="6729245" algn="r"/>
              </a:tabLst>
              <a:defRPr sz="1300"/>
            </a:lvl2pPr>
            <a:lvl3pPr>
              <a:tabLst>
                <a:tab pos="6729245" algn="r"/>
              </a:tabLst>
              <a:defRPr sz="1300"/>
            </a:lvl3pPr>
            <a:lvl4pPr>
              <a:tabLst>
                <a:tab pos="6729245" algn="r"/>
              </a:tabLst>
              <a:defRPr sz="1300"/>
            </a:lvl4pPr>
            <a:lvl5pPr>
              <a:tabLst>
                <a:tab pos="5029074" algn="r"/>
              </a:tabLst>
              <a:defRPr sz="1300"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4464A84-542A-4D1A-8583-EEE0342E31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2EEE0C-4EE5-49C0-A99D-660B1A86B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3375711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062DEA33-D70F-464E-8310-21426B95E5BC}"/>
              </a:ext>
            </a:extLst>
          </p:cNvPr>
          <p:cNvSpPr txBox="1"/>
          <p:nvPr userDrawn="1"/>
        </p:nvSpPr>
        <p:spPr>
          <a:xfrm>
            <a:off x="501649" y="6477000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0 Deloitte Development LLC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88BC9E-0C2C-4EB3-82B0-F3C9CEC9B2FE}"/>
              </a:ext>
            </a:extLst>
          </p:cNvPr>
          <p:cNvSpPr txBox="1"/>
          <p:nvPr userDrawn="1"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731202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D0DD3CDC-03F0-45B8-ACB9-85646491556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075284492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2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6F50CF5-77BF-459B-9A79-3C4CC22A0F3A}"/>
              </a:ext>
            </a:extLst>
          </p:cNvPr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E9128BED-07B9-451E-B858-7CC1141471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C68196BA-7D11-4539-BDF9-983E22D342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4" name="Rectangle 7">
              <a:extLst>
                <a:ext uri="{FF2B5EF4-FFF2-40B4-BE49-F238E27FC236}">
                  <a16:creationId xmlns:a16="http://schemas.microsoft.com/office/drawing/2014/main" id="{42AF1C77-6287-4499-B04A-87B27165DE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25579AED-BEB3-43B3-8ED1-4F00DD4BD00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6" name="Rectangle 9">
              <a:extLst>
                <a:ext uri="{FF2B5EF4-FFF2-40B4-BE49-F238E27FC236}">
                  <a16:creationId xmlns:a16="http://schemas.microsoft.com/office/drawing/2014/main" id="{E45E9D0B-F5C0-4893-92F0-D69A666C1B0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7" name="Rectangle 10">
              <a:extLst>
                <a:ext uri="{FF2B5EF4-FFF2-40B4-BE49-F238E27FC236}">
                  <a16:creationId xmlns:a16="http://schemas.microsoft.com/office/drawing/2014/main" id="{DE5C210F-0B06-4949-8E4D-64301D93E9D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F24B8B3C-D0AE-4485-8A30-2C7813EFD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0DD172EE-B893-46D5-9A64-6715E43129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41641FDD-35E1-4F42-B99C-FFA6812569B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DFE30DEA-FA20-4812-875C-D70A3CA3F5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52" name="Picture Placeholder 8">
            <a:extLst>
              <a:ext uri="{FF2B5EF4-FFF2-40B4-BE49-F238E27FC236}">
                <a16:creationId xmlns:a16="http://schemas.microsoft.com/office/drawing/2014/main" id="{27C09EB3-4C86-4B88-B9B3-4061BBB643D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511332" y="804672"/>
            <a:ext cx="7205472" cy="54041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2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7604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A0BD833-5739-4FDB-B21F-A7A7C0EEC237}"/>
              </a:ext>
            </a:extLst>
          </p:cNvPr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D1771689-8745-4F67-ACB0-2FA880B6292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43568588-502F-4601-817C-92A013540B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DA2B9600-D91E-468D-9D31-33B92E3947F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01FF30FF-ADCC-4CD2-B09E-60F75CA993F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626A5D63-C61D-476A-A2EC-68200DDB9C5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7CF26D08-DDCB-480D-A0A6-78132794DDF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C480F8B4-FD1C-4275-AAA2-9419EC0B46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5B7B28FE-7DA7-4E92-B122-4B8FF96D28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DD066F0D-1BE8-441F-AEA3-D80F502E6D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400E2E76-B6C3-46F1-A088-5C42F7BC8C5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843742C-26CB-411F-8564-5030924198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2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7C729B7-24CD-4887-BCB2-9B9E69736AA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2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1695341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16AE07-E0A0-4210-829F-74B737BC2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42C271-EF3D-45A3-ABFB-30E86F581E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32E5851-86DF-49FF-8390-A5AD8BAC34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D4EA01-E9AB-4859-A2E0-479D2AA2351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D02A167-8F2B-4158-9765-E97405E474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CF259F7-E0EF-41C5-A682-B348BEE67C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CA91BD-0DCA-46A3-B84C-E5A44F8A7F51}" type="datetime1">
              <a:rPr lang="en-US" smtClean="0"/>
              <a:t>8/5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3A4CA9-0798-4CF4-A22A-63EE5BA74D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@ 2020 Deloitte Development LLC.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CAE7A80-099D-4E12-985F-704D63A923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8053D-D3D6-4900-B3A2-0AC1946A28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13873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ith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01652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2400"/>
              </a:lnSpc>
              <a:defRPr sz="2400" b="0">
                <a:solidFill>
                  <a:schemeClr val="tx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2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05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BF939DF8-C67D-4ED5-9DBC-98F2B43BDAE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015598" y="904143"/>
            <a:ext cx="6160804" cy="4620603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vert="horz" lIns="81000" tIns="81000" rIns="81000" bIns="81000" rtlCol="0" anchor="ctr" anchorCtr="0">
            <a:normAutofit/>
          </a:bodyPr>
          <a:lstStyle>
            <a:lvl1pPr algn="ctr" defTabSz="914400" rtl="0" eaLnBrk="1" latinLnBrk="0" hangingPunct="1">
              <a:lnSpc>
                <a:spcPts val="42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2700" dirty="0"/>
              <a:t>Click to edit Master title style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14B2268-F12F-46F8-BE27-6EBBA98A8CF0}"/>
              </a:ext>
            </a:extLst>
          </p:cNvPr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44" name="Oval 5">
              <a:extLst>
                <a:ext uri="{FF2B5EF4-FFF2-40B4-BE49-F238E27FC236}">
                  <a16:creationId xmlns:a16="http://schemas.microsoft.com/office/drawing/2014/main" id="{3055025C-A907-4A28-820F-76829043164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id="{F9BF8FC5-CE9D-467E-9C4B-0C64EF94F6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6" name="Rectangle 7">
              <a:extLst>
                <a:ext uri="{FF2B5EF4-FFF2-40B4-BE49-F238E27FC236}">
                  <a16:creationId xmlns:a16="http://schemas.microsoft.com/office/drawing/2014/main" id="{1E80BBD9-99AC-48AD-AA19-E34A965A99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id="{A96C5F56-12C4-4592-9CAD-AEFF66B612F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8" name="Rectangle 9">
              <a:extLst>
                <a:ext uri="{FF2B5EF4-FFF2-40B4-BE49-F238E27FC236}">
                  <a16:creationId xmlns:a16="http://schemas.microsoft.com/office/drawing/2014/main" id="{33D39544-1E93-4BD5-B818-2372E29F72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9" name="Rectangle 10">
              <a:extLst>
                <a:ext uri="{FF2B5EF4-FFF2-40B4-BE49-F238E27FC236}">
                  <a16:creationId xmlns:a16="http://schemas.microsoft.com/office/drawing/2014/main" id="{8C13C80B-4B7F-4CAC-A095-849EC5B7551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id="{0A379A4A-23CB-496B-A9C7-CE3B7B6C23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51" name="Freeform 12">
              <a:extLst>
                <a:ext uri="{FF2B5EF4-FFF2-40B4-BE49-F238E27FC236}">
                  <a16:creationId xmlns:a16="http://schemas.microsoft.com/office/drawing/2014/main" id="{A01F430F-9FED-4509-A058-D05DC2F898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52" name="Freeform 13">
              <a:extLst>
                <a:ext uri="{FF2B5EF4-FFF2-40B4-BE49-F238E27FC236}">
                  <a16:creationId xmlns:a16="http://schemas.microsoft.com/office/drawing/2014/main" id="{D280E5F1-1D0C-4FBC-9CEA-A13E17E4C61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53" name="Freeform 14">
              <a:extLst>
                <a:ext uri="{FF2B5EF4-FFF2-40B4-BE49-F238E27FC236}">
                  <a16:creationId xmlns:a16="http://schemas.microsoft.com/office/drawing/2014/main" id="{3A02C093-E6F8-42AD-B140-367FFC07A1B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25650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6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2B09C439-6EAE-4988-B2EB-173546F60C3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01651" y="1665290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300"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300"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300"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 baseline="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3262505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2700" spc="-56" dirty="0">
                <a:latin typeface="+mj-lt"/>
              </a:defRPr>
            </a:lvl1pPr>
          </a:lstStyle>
          <a:p>
            <a:pPr lvl="0" defTabSz="51435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/>
            </a:lvl1pPr>
          </a:lstStyle>
          <a:p>
            <a:pPr marL="171450" lvl="0" indent="-171450">
              <a:lnSpc>
                <a:spcPct val="13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675" b="1" kern="0" cap="all" spc="188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171450" lvl="0" indent="-17145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396635323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B4951F-F55B-4F8B-91D6-F942AAF55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6FDF5F-0CB1-4C35-AB9D-4901E620CD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2F172F-1166-40AD-B1CC-9CB8D7E8A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A919CD-6105-43C0-A038-C5D51E08C11C}" type="datetime1">
              <a:rPr lang="en-US" smtClean="0"/>
              <a:t>8/5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9F335B-1C7B-4AE4-A09E-14435A76DE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@ 2020 Deloitte Development LLC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706812-4EAA-4724-A322-E54A7F3D56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5D1997-1C9C-4505-BF44-23F9FF7C5B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19577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US" sz="9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92778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83ADD-390A-4CCA-A4F3-6BF7A12181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4B70A05-819A-400F-BF14-B97D46005D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2EA37-D558-4C54-906E-5DCA96FE1B28}" type="datetime1">
              <a:rPr lang="en-US" smtClean="0"/>
              <a:t>8/5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A4AC4B-CA1E-40D2-B4AD-B7715619EA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@ 2020 Deloitte Development LLC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5AF9FA-4B00-4662-A8B1-5DE7715472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8053D-D3D6-4900-B3A2-0AC1946A28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80610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B43F4FB-D279-4863-80E7-32933DDA67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52146-307A-4D95-838B-674DD4CB5393}" type="datetime1">
              <a:rPr lang="en-US" smtClean="0"/>
              <a:t>8/5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9F15997-5F0A-494B-B314-9ADD8DAC4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@ 2020 Deloitte Development LL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E4DB88-3C5F-455D-9D06-59223EE39E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8053D-D3D6-4900-B3A2-0AC1946A28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58446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CA51A5-D508-40BF-B8DB-2456A75D6F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3CE48B-8DF5-4EE5-8CAC-3C9CDA66E5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CE48BA-EB4A-4369-931B-81E85BD383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CC27E2-B843-40EC-BFE8-C5AB26B4CB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D89F7-BF29-497E-AA7F-AF8ECEA454CB}" type="datetime1">
              <a:rPr lang="en-US" smtClean="0"/>
              <a:t>8/5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4678A7-6CAB-4A29-B931-30D4CD0F4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@ 2020 Deloitte Development LLC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816E5E-F346-46C5-AA3D-87870A437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8053D-D3D6-4900-B3A2-0AC1946A28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2376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35DB98-6474-4256-BF45-9D0C6A372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A98812D-BCC0-4204-8EAE-F9549F3D5E5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C3E59A-C675-4820-8D78-29D31BF0F1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8930AF7-1DCD-4851-9A24-2A86D1985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57AF4-64FF-4C5B-9155-38E5757542B2}" type="datetime1">
              <a:rPr lang="en-US" smtClean="0"/>
              <a:t>8/5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FC10BA-65A9-426A-AD3D-EE4C2D89A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@ 2020 Deloitte Development LLC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3A6D50-927D-470C-841F-B526DC2E05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8053D-D3D6-4900-B3A2-0AC1946A28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594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slideLayout" Target="../slideLayouts/slideLayout40.xml"/><Relationship Id="rId39" Type="http://schemas.openxmlformats.org/officeDocument/2006/relationships/slideLayout" Target="../slideLayouts/slideLayout53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34" Type="http://schemas.openxmlformats.org/officeDocument/2006/relationships/slideLayout" Target="../slideLayouts/slideLayout48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33" Type="http://schemas.openxmlformats.org/officeDocument/2006/relationships/slideLayout" Target="../slideLayouts/slideLayout47.xml"/><Relationship Id="rId38" Type="http://schemas.openxmlformats.org/officeDocument/2006/relationships/slideLayout" Target="../slideLayouts/slideLayout52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29" Type="http://schemas.openxmlformats.org/officeDocument/2006/relationships/slideLayout" Target="../slideLayouts/slideLayout43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32" Type="http://schemas.openxmlformats.org/officeDocument/2006/relationships/slideLayout" Target="../slideLayouts/slideLayout46.xml"/><Relationship Id="rId37" Type="http://schemas.openxmlformats.org/officeDocument/2006/relationships/slideLayout" Target="../slideLayouts/slideLayout51.xml"/><Relationship Id="rId40" Type="http://schemas.openxmlformats.org/officeDocument/2006/relationships/slideLayout" Target="../slideLayouts/slideLayout54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slideLayout" Target="../slideLayouts/slideLayout42.xml"/><Relationship Id="rId36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31" Type="http://schemas.openxmlformats.org/officeDocument/2006/relationships/slideLayout" Target="../slideLayouts/slideLayout45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Relationship Id="rId30" Type="http://schemas.openxmlformats.org/officeDocument/2006/relationships/slideLayout" Target="../slideLayouts/slideLayout44.xml"/><Relationship Id="rId35" Type="http://schemas.openxmlformats.org/officeDocument/2006/relationships/slideLayout" Target="../slideLayouts/slideLayout49.xml"/><Relationship Id="rId43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4E9F07-0210-43DB-9AED-C4166C3691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1CDB45-3E11-4CB1-BD39-24DE6FF036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8511AC-1170-4821-8D71-FA649D1055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676721-3149-497B-81B2-AB0565487B7F}" type="datetime1">
              <a:rPr lang="en-US" smtClean="0"/>
              <a:t>8/5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336A96-9318-4B95-A6DE-45861A3243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pyright @ 2020 Deloitte Development LLC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B0DB2E-5F1E-46C7-BAD7-FF847C5CEF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78053D-D3D6-4900-B3A2-0AC1946A28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1008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01" r:id="rId12"/>
    <p:sldLayoutId id="2147483702" r:id="rId13"/>
    <p:sldLayoutId id="2147483703" r:id="rId1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08156068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/>
        </p:nvSpPr>
        <p:spPr>
          <a:xfrm>
            <a:off x="6335184" y="6477002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rama Industry Playbook</a:t>
            </a:r>
          </a:p>
        </p:txBody>
      </p:sp>
      <p:sp>
        <p:nvSpPr>
          <p:cNvPr id="18" name="Copyright"/>
          <p:cNvSpPr txBox="1"/>
          <p:nvPr/>
        </p:nvSpPr>
        <p:spPr>
          <a:xfrm>
            <a:off x="501649" y="6477000"/>
            <a:ext cx="5355168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="0" noProof="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Copyright © 2020 Deloitte Development LLC. All rights reserved.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4769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1300" b="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2pPr>
      <a:lvl3pPr marL="304800" indent="-139700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2" orient="horz" pos="640">
          <p15:clr>
            <a:srgbClr val="F26B43"/>
          </p15:clr>
        </p15:guide>
        <p15:guide id="23" pos="5098">
          <p15:clr>
            <a:srgbClr val="F26B43"/>
          </p15:clr>
        </p15:guide>
        <p15:guide id="24" orient="horz" pos="2160">
          <p15:clr>
            <a:srgbClr val="F26B43"/>
          </p15:clr>
        </p15:guide>
        <p15:guide id="25" orient="horz" pos="3968">
          <p15:clr>
            <a:srgbClr val="F26B43"/>
          </p15:clr>
        </p15:guide>
        <p15:guide id="26" pos="312">
          <p15:clr>
            <a:srgbClr val="F26B43"/>
          </p15:clr>
        </p15:guide>
        <p15:guide id="27" pos="7368">
          <p15:clr>
            <a:srgbClr val="F26B43"/>
          </p15:clr>
        </p15:guide>
        <p15:guide id="29" orient="horz" pos="245">
          <p15:clr>
            <a:srgbClr val="F26B43"/>
          </p15:clr>
        </p15:guide>
        <p15:guide id="30" orient="horz" pos="4081">
          <p15:clr>
            <a:srgbClr val="F26B43"/>
          </p15:clr>
        </p15:guide>
        <p15:guide id="31" pos="4986">
          <p15:clr>
            <a:srgbClr val="F26B43"/>
          </p15:clr>
        </p15:guide>
        <p15:guide id="32" pos="1382">
          <p15:clr>
            <a:srgbClr val="F26B43"/>
          </p15:clr>
        </p15:guide>
        <p15:guide id="33" pos="1496">
          <p15:clr>
            <a:srgbClr val="F26B43"/>
          </p15:clr>
        </p15:guide>
        <p15:guide id="34" pos="2581">
          <p15:clr>
            <a:srgbClr val="F26B43"/>
          </p15:clr>
        </p15:guide>
        <p15:guide id="35" pos="2695">
          <p15:clr>
            <a:srgbClr val="F26B43"/>
          </p15:clr>
        </p15:guide>
        <p15:guide id="36" pos="6185">
          <p15:clr>
            <a:srgbClr val="F26B43"/>
          </p15:clr>
        </p15:guide>
        <p15:guide id="37" pos="3783">
          <p15:clr>
            <a:srgbClr val="F26B43"/>
          </p15:clr>
        </p15:guide>
        <p15:guide id="38" pos="3896">
          <p15:clr>
            <a:srgbClr val="F26B43"/>
          </p15:clr>
        </p15:guide>
        <p15:guide id="39" pos="3840">
          <p15:clr>
            <a:srgbClr val="F26B43"/>
          </p15:clr>
        </p15:guide>
        <p15:guide id="40" pos="6299">
          <p15:clr>
            <a:srgbClr val="F26B43"/>
          </p15:clr>
        </p15:guide>
        <p15:guide id="41" orient="horz" pos="1049">
          <p15:clr>
            <a:srgbClr val="F26B43"/>
          </p15:clr>
        </p15:guide>
        <p15:guide id="42" orient="horz" pos="641">
          <p15:clr>
            <a:srgbClr val="F26B43"/>
          </p15:clr>
        </p15:guide>
        <p15:guide id="4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13.pn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10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9D5C5EF4-9CCA-4665-825B-F674776CB05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/>
          <a:srcRect l="12493" r="12493"/>
          <a:stretch>
            <a:fillRect/>
          </a:stretch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A53A8AD-38C0-4854-81B3-9B99B4E007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00239" y="5186209"/>
            <a:ext cx="3604747" cy="895983"/>
          </a:xfrm>
        </p:spPr>
        <p:txBody>
          <a:bodyPr/>
          <a:lstStyle/>
          <a:p>
            <a:r>
              <a:rPr lang="en-US" dirty="0"/>
              <a:t>Evergage Use case Timelin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Copyright @ 2020 Deloitte Development LLC. All rights Reserved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6C09E8A-0AD2-4CD8-B467-84AE02FBE7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74608" y="5961888"/>
            <a:ext cx="1652778" cy="684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22317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">
            <a:extLst>
              <a:ext uri="{FF2B5EF4-FFF2-40B4-BE49-F238E27FC236}">
                <a16:creationId xmlns:a16="http://schemas.microsoft.com/office/drawing/2014/main" id="{93145610-6347-4050-9939-273C4AC2CD19}"/>
              </a:ext>
            </a:extLst>
          </p:cNvPr>
          <p:cNvSpPr txBox="1"/>
          <p:nvPr/>
        </p:nvSpPr>
        <p:spPr>
          <a:xfrm>
            <a:off x="0" y="261721"/>
            <a:ext cx="12192000" cy="685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614045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1" i="1" u="none" strike="noStrike" kern="1200" cap="none" spc="-5" normalizeH="0" baseline="0" noProof="0">
                <a:ln>
                  <a:noFill/>
                </a:ln>
                <a:solidFill>
                  <a:srgbClr val="F1F1F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2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753C6F9-7BC3-470F-B5E7-555213C0FC03}"/>
              </a:ext>
            </a:extLst>
          </p:cNvPr>
          <p:cNvSpPr txBox="1"/>
          <p:nvPr/>
        </p:nvSpPr>
        <p:spPr>
          <a:xfrm>
            <a:off x="920565" y="2340832"/>
            <a:ext cx="4108952" cy="4196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0000"/>
                </a:solidFill>
                <a:latin typeface="Open Sans"/>
                <a:ea typeface="Chronicle Display Black" charset="0"/>
                <a:cs typeface="Chronicle Display Black" charset="0"/>
              </a:rPr>
              <a:t>Activity Timeline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Chronicle Display Black" charset="0"/>
              <a:cs typeface="Chronicle Display Black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E776B14-BDA5-4D73-B841-C45EA87F458C}"/>
              </a:ext>
            </a:extLst>
          </p:cNvPr>
          <p:cNvCxnSpPr>
            <a:cxnSpLocks/>
          </p:cNvCxnSpPr>
          <p:nvPr/>
        </p:nvCxnSpPr>
        <p:spPr>
          <a:xfrm>
            <a:off x="294282" y="1930534"/>
            <a:ext cx="451430" cy="0"/>
          </a:xfrm>
          <a:prstGeom prst="line">
            <a:avLst/>
          </a:prstGeom>
          <a:ln w="1047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255A2C23-6C1F-499B-930F-E5B0E17AA6B9}"/>
              </a:ext>
            </a:extLst>
          </p:cNvPr>
          <p:cNvSpPr txBox="1"/>
          <p:nvPr/>
        </p:nvSpPr>
        <p:spPr>
          <a:xfrm>
            <a:off x="349810" y="1413007"/>
            <a:ext cx="356713" cy="37032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ronicle Display Black" charset="0"/>
                <a:ea typeface="Chronicle Display Black" charset="0"/>
                <a:cs typeface="Chronicle Display Black" charset="0"/>
              </a:rPr>
              <a:t>1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525FD1D-8BE0-4DD3-991C-F0FCA792275D}"/>
              </a:ext>
            </a:extLst>
          </p:cNvPr>
          <p:cNvCxnSpPr>
            <a:cxnSpLocks/>
          </p:cNvCxnSpPr>
          <p:nvPr/>
        </p:nvCxnSpPr>
        <p:spPr>
          <a:xfrm>
            <a:off x="294282" y="3397100"/>
            <a:ext cx="451430" cy="0"/>
          </a:xfrm>
          <a:prstGeom prst="line">
            <a:avLst/>
          </a:prstGeom>
          <a:ln w="104775" cmpd="sng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8BD00A50-5785-410A-9B19-E39486F21C29}"/>
              </a:ext>
            </a:extLst>
          </p:cNvPr>
          <p:cNvSpPr txBox="1"/>
          <p:nvPr/>
        </p:nvSpPr>
        <p:spPr>
          <a:xfrm>
            <a:off x="377611" y="2865425"/>
            <a:ext cx="368101" cy="37032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ronicle Display Black" charset="0"/>
                <a:ea typeface="Chronicle Display Black" charset="0"/>
                <a:cs typeface="Chronicle Display Black" charset="0"/>
              </a:rPr>
              <a:t>3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D241A04-36B0-45B4-9B65-AC443C826EF9}"/>
              </a:ext>
            </a:extLst>
          </p:cNvPr>
          <p:cNvCxnSpPr>
            <a:cxnSpLocks/>
          </p:cNvCxnSpPr>
          <p:nvPr/>
        </p:nvCxnSpPr>
        <p:spPr>
          <a:xfrm>
            <a:off x="294282" y="2663817"/>
            <a:ext cx="451430" cy="0"/>
          </a:xfrm>
          <a:prstGeom prst="line">
            <a:avLst/>
          </a:prstGeom>
          <a:ln w="104775" cmpd="sng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54A4C68B-8A25-4F2D-BDA4-C12A9EB184B0}"/>
              </a:ext>
            </a:extLst>
          </p:cNvPr>
          <p:cNvSpPr txBox="1"/>
          <p:nvPr/>
        </p:nvSpPr>
        <p:spPr>
          <a:xfrm>
            <a:off x="388999" y="2150102"/>
            <a:ext cx="356713" cy="37032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ronicle Display Black" charset="0"/>
                <a:ea typeface="Chronicle Display Black" charset="0"/>
                <a:cs typeface="Chronicle Display Black" charset="0"/>
              </a:rPr>
              <a:t>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12BC6A2-5760-41D5-84A9-4F81E0A1D37E}"/>
              </a:ext>
            </a:extLst>
          </p:cNvPr>
          <p:cNvSpPr txBox="1"/>
          <p:nvPr/>
        </p:nvSpPr>
        <p:spPr>
          <a:xfrm>
            <a:off x="907804" y="3761326"/>
            <a:ext cx="4531360" cy="46166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lvl="0">
              <a:lnSpc>
                <a:spcPct val="85000"/>
              </a:lnSpc>
              <a:defRPr/>
            </a:pPr>
            <a:endParaRPr lang="en-US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CBB6407-83C3-4D94-B7AD-EC2ABD026173}"/>
              </a:ext>
            </a:extLst>
          </p:cNvPr>
          <p:cNvSpPr txBox="1"/>
          <p:nvPr/>
        </p:nvSpPr>
        <p:spPr>
          <a:xfrm>
            <a:off x="920565" y="3146899"/>
            <a:ext cx="4531360" cy="46166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lnSpc>
                <a:spcPct val="85000"/>
              </a:lnSpc>
              <a:defRPr/>
            </a:pPr>
            <a:r>
              <a:rPr lang="en-US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vergage Capability Deck &amp; Digital Transformation Use Cases.</a:t>
            </a:r>
          </a:p>
          <a:p>
            <a:pPr lvl="0">
              <a:lnSpc>
                <a:spcPct val="85000"/>
              </a:lnSpc>
              <a:defRPr/>
            </a:pPr>
            <a:r>
              <a:rPr lang="en-US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38" name="Title 10">
            <a:extLst>
              <a:ext uri="{FF2B5EF4-FFF2-40B4-BE49-F238E27FC236}">
                <a16:creationId xmlns:a16="http://schemas.microsoft.com/office/drawing/2014/main" id="{E8895041-D695-4338-99DE-2FD9A87CE70D}"/>
              </a:ext>
            </a:extLst>
          </p:cNvPr>
          <p:cNvSpPr txBox="1">
            <a:spLocks/>
          </p:cNvSpPr>
          <p:nvPr/>
        </p:nvSpPr>
        <p:spPr>
          <a:xfrm>
            <a:off x="-1" y="165101"/>
            <a:ext cx="12191999" cy="409330"/>
          </a:xfrm>
          <a:prstGeom prst="rect">
            <a:avLst/>
          </a:prstGeom>
          <a:solidFill>
            <a:schemeClr val="tx1"/>
          </a:solidFill>
        </p:spPr>
        <p:txBody>
          <a:bodyPr vert="horz" lIns="0" tIns="4572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>
                <a:solidFill>
                  <a:schemeClr val="bg1"/>
                </a:solidFill>
              </a:rPr>
              <a:t> AGEND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19CD89-33BE-45B5-8B70-1F7D958569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999" y="6437630"/>
            <a:ext cx="3133725" cy="238125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6A33A15-BAE2-4C1F-89B7-2A207D75847D}"/>
              </a:ext>
            </a:extLst>
          </p:cNvPr>
          <p:cNvSpPr txBox="1"/>
          <p:nvPr/>
        </p:nvSpPr>
        <p:spPr>
          <a:xfrm>
            <a:off x="923801" y="1587375"/>
            <a:ext cx="4108952" cy="4196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Chronicle Display Black" charset="0"/>
                <a:cs typeface="Chronicle Display Black" charset="0"/>
              </a:rPr>
              <a:t>In-Scope Activities.</a:t>
            </a:r>
          </a:p>
        </p:txBody>
      </p:sp>
    </p:spTree>
    <p:extLst>
      <p:ext uri="{BB962C8B-B14F-4D97-AF65-F5344CB8AC3E}">
        <p14:creationId xmlns:p14="http://schemas.microsoft.com/office/powerpoint/2010/main" val="25201013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93BBAF4-7CF9-4A4E-8977-C69218A61A33}"/>
              </a:ext>
            </a:extLst>
          </p:cNvPr>
          <p:cNvGrpSpPr/>
          <p:nvPr/>
        </p:nvGrpSpPr>
        <p:grpSpPr>
          <a:xfrm>
            <a:off x="1137657" y="1810953"/>
            <a:ext cx="2265618" cy="3697840"/>
            <a:chOff x="5227825" y="1839596"/>
            <a:chExt cx="2265618" cy="3697840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1786EA36-BA24-4D52-8E19-F0D51FC61390}"/>
                </a:ext>
              </a:extLst>
            </p:cNvPr>
            <p:cNvGrpSpPr/>
            <p:nvPr/>
          </p:nvGrpSpPr>
          <p:grpSpPr>
            <a:xfrm>
              <a:off x="5227825" y="1839596"/>
              <a:ext cx="2265618" cy="3697840"/>
              <a:chOff x="121295" y="1684267"/>
              <a:chExt cx="2265618" cy="3697840"/>
            </a:xfrm>
          </p:grpSpPr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327491A9-DD5A-464E-91C9-27F9FC984800}"/>
                  </a:ext>
                </a:extLst>
              </p:cNvPr>
              <p:cNvGrpSpPr/>
              <p:nvPr/>
            </p:nvGrpSpPr>
            <p:grpSpPr>
              <a:xfrm>
                <a:off x="217645" y="1904870"/>
                <a:ext cx="2169268" cy="3477237"/>
                <a:chOff x="246885" y="145737"/>
                <a:chExt cx="2169268" cy="3477237"/>
              </a:xfrm>
            </p:grpSpPr>
            <p:sp>
              <p:nvSpPr>
                <p:cNvPr id="56" name="Rounded Rectangle 35">
                  <a:extLst>
                    <a:ext uri="{FF2B5EF4-FFF2-40B4-BE49-F238E27FC236}">
                      <a16:creationId xmlns:a16="http://schemas.microsoft.com/office/drawing/2014/main" id="{834FBE76-3AE5-445D-A894-3FC0202E10E0}"/>
                    </a:ext>
                  </a:extLst>
                </p:cNvPr>
                <p:cNvSpPr/>
                <p:nvPr/>
              </p:nvSpPr>
              <p:spPr>
                <a:xfrm>
                  <a:off x="246885" y="145737"/>
                  <a:ext cx="2169268" cy="3477237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accent6"/>
                </a:solidFill>
                <a:effectLst/>
              </p:spPr>
              <p:txBody>
                <a:bodyPr lIns="0" tIns="68576" rIns="0" bIns="45717">
                  <a:normAutofit/>
                </a:bodyPr>
                <a:lstStyle/>
                <a:p>
                  <a:pPr marL="123825" lvl="2" indent="0" algn="ctr">
                    <a:buNone/>
                  </a:pPr>
                  <a:endParaRPr lang="en-US" sz="1600" dirty="0"/>
                </a:p>
                <a:p>
                  <a:pPr marL="123825" lvl="2" indent="0" algn="ctr">
                    <a:buNone/>
                  </a:pPr>
                  <a:endParaRPr lang="en-US" sz="1600" dirty="0"/>
                </a:p>
                <a:p>
                  <a:pPr marL="123825" lvl="2" indent="0" algn="ctr">
                    <a:buNone/>
                  </a:pPr>
                  <a:r>
                    <a:rPr lang="en-US" b="1" dirty="0">
                      <a:solidFill>
                        <a:schemeClr val="bg1"/>
                      </a:solidFill>
                      <a:latin typeface="Frutiger Next Pro Light"/>
                    </a:rPr>
                    <a:t>Documentation</a:t>
                  </a:r>
                </a:p>
              </p:txBody>
            </p:sp>
            <p:sp>
              <p:nvSpPr>
                <p:cNvPr id="57" name="Rounded Rectangle 36">
                  <a:extLst>
                    <a:ext uri="{FF2B5EF4-FFF2-40B4-BE49-F238E27FC236}">
                      <a16:creationId xmlns:a16="http://schemas.microsoft.com/office/drawing/2014/main" id="{CB94CD7A-CD1B-4209-8E7B-EB207D3C46DD}"/>
                    </a:ext>
                  </a:extLst>
                </p:cNvPr>
                <p:cNvSpPr/>
                <p:nvPr/>
              </p:nvSpPr>
              <p:spPr>
                <a:xfrm>
                  <a:off x="366427" y="1396895"/>
                  <a:ext cx="1930183" cy="2210724"/>
                </a:xfrm>
                <a:prstGeom prst="roundRect">
                  <a:avLst>
                    <a:gd name="adj" fmla="val 2542"/>
                  </a:avLst>
                </a:prstGeom>
                <a:solidFill>
                  <a:srgbClr val="FFFFFF"/>
                </a:solidFill>
                <a:effectLst/>
              </p:spPr>
              <p:txBody>
                <a:bodyPr lIns="91434" tIns="137160" rIns="91434" bIns="91440">
                  <a:prstTxWarp prst="textNoShape">
                    <a:avLst/>
                  </a:prstTxWarp>
                </a:bodyPr>
                <a:lstStyle/>
                <a:p>
                  <a:pPr marL="295275" lvl="2" indent="-171450">
                    <a:buFont typeface="Arial" panose="020B0604020202020204" pitchFamily="34" charset="0"/>
                    <a:buChar char="•"/>
                  </a:pPr>
                  <a:r>
                    <a:rPr lang="en-US" sz="1200" dirty="0"/>
                    <a:t>Build reusable code repository which can serve as a guide.</a:t>
                  </a:r>
                </a:p>
                <a:p>
                  <a:pPr marL="295275" lvl="2" indent="-171450">
                    <a:buFont typeface="Arial" panose="020B0604020202020204" pitchFamily="34" charset="0"/>
                    <a:buChar char="•"/>
                  </a:pPr>
                  <a:r>
                    <a:rPr lang="en-US" sz="1200" dirty="0"/>
                    <a:t>Document pre-requisites, learnings, limitations.</a:t>
                  </a:r>
                </a:p>
                <a:p>
                  <a:pPr marL="295275" lvl="2" indent="-171450">
                    <a:buFont typeface="Arial" panose="020B0604020202020204" pitchFamily="34" charset="0"/>
                    <a:buChar char="•"/>
                  </a:pPr>
                  <a:r>
                    <a:rPr lang="en-US" sz="1200" dirty="0"/>
                    <a:t>Document key differences among market competitors.</a:t>
                  </a:r>
                </a:p>
                <a:p>
                  <a:pPr marL="295275" lvl="2" indent="-171450">
                    <a:buFont typeface="Arial" panose="020B0604020202020204" pitchFamily="34" charset="0"/>
                    <a:buChar char="•"/>
                  </a:pPr>
                  <a:r>
                    <a:rPr lang="en-US" sz="1200" dirty="0"/>
                    <a:t>Effort Estimate guidelines.</a:t>
                  </a:r>
                </a:p>
                <a:p>
                  <a:pPr marL="295275" lvl="2" indent="-171450">
                    <a:buFont typeface="Arial" panose="020B0604020202020204" pitchFamily="34" charset="0"/>
                    <a:buChar char="•"/>
                  </a:pPr>
                  <a:endParaRPr lang="en-US" sz="1200" dirty="0"/>
                </a:p>
              </p:txBody>
            </p:sp>
          </p:grp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7B5FF347-BEBE-446F-A99E-EC236158B5EB}"/>
                  </a:ext>
                </a:extLst>
              </p:cNvPr>
              <p:cNvSpPr/>
              <p:nvPr/>
            </p:nvSpPr>
            <p:spPr>
              <a:xfrm>
                <a:off x="121295" y="1684267"/>
                <a:ext cx="717158" cy="723145"/>
              </a:xfrm>
              <a:prstGeom prst="ellipse">
                <a:avLst/>
              </a:prstGeom>
              <a:solidFill>
                <a:srgbClr val="FFFFFF"/>
              </a:solidFill>
              <a:ln>
                <a:solidFill>
                  <a:srgbClr val="0085C3"/>
                </a:solidFill>
              </a:ln>
              <a:effectLst/>
            </p:spPr>
            <p:txBody>
              <a:bodyPr wrap="square" lIns="182876" tIns="137156" rIns="137156" bIns="137156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0" name="Freeform 589"/>
            <p:cNvSpPr>
              <a:spLocks noChangeAspect="1" noEditPoints="1"/>
            </p:cNvSpPr>
            <p:nvPr/>
          </p:nvSpPr>
          <p:spPr bwMode="auto">
            <a:xfrm>
              <a:off x="5281265" y="1904589"/>
              <a:ext cx="623701" cy="623701"/>
            </a:xfrm>
            <a:custGeom>
              <a:avLst/>
              <a:gdLst>
                <a:gd name="T0" fmla="*/ 384 w 512"/>
                <a:gd name="T1" fmla="*/ 157 h 512"/>
                <a:gd name="T2" fmla="*/ 384 w 512"/>
                <a:gd name="T3" fmla="*/ 349 h 512"/>
                <a:gd name="T4" fmla="*/ 266 w 512"/>
                <a:gd name="T5" fmla="*/ 348 h 512"/>
                <a:gd name="T6" fmla="*/ 266 w 512"/>
                <a:gd name="T7" fmla="*/ 157 h 512"/>
                <a:gd name="T8" fmla="*/ 384 w 512"/>
                <a:gd name="T9" fmla="*/ 157 h 512"/>
                <a:gd name="T10" fmla="*/ 512 w 512"/>
                <a:gd name="T11" fmla="*/ 256 h 512"/>
                <a:gd name="T12" fmla="*/ 256 w 512"/>
                <a:gd name="T13" fmla="*/ 512 h 512"/>
                <a:gd name="T14" fmla="*/ 0 w 512"/>
                <a:gd name="T15" fmla="*/ 256 h 512"/>
                <a:gd name="T16" fmla="*/ 256 w 512"/>
                <a:gd name="T17" fmla="*/ 0 h 512"/>
                <a:gd name="T18" fmla="*/ 512 w 512"/>
                <a:gd name="T19" fmla="*/ 256 h 512"/>
                <a:gd name="T20" fmla="*/ 405 w 512"/>
                <a:gd name="T21" fmla="*/ 149 h 512"/>
                <a:gd name="T22" fmla="*/ 398 w 512"/>
                <a:gd name="T23" fmla="*/ 139 h 512"/>
                <a:gd name="T24" fmla="*/ 256 w 512"/>
                <a:gd name="T25" fmla="*/ 138 h 512"/>
                <a:gd name="T26" fmla="*/ 114 w 512"/>
                <a:gd name="T27" fmla="*/ 139 h 512"/>
                <a:gd name="T28" fmla="*/ 106 w 512"/>
                <a:gd name="T29" fmla="*/ 149 h 512"/>
                <a:gd name="T30" fmla="*/ 106 w 512"/>
                <a:gd name="T31" fmla="*/ 362 h 512"/>
                <a:gd name="T32" fmla="*/ 111 w 512"/>
                <a:gd name="T33" fmla="*/ 371 h 512"/>
                <a:gd name="T34" fmla="*/ 121 w 512"/>
                <a:gd name="T35" fmla="*/ 372 h 512"/>
                <a:gd name="T36" fmla="*/ 253 w 512"/>
                <a:gd name="T37" fmla="*/ 373 h 512"/>
                <a:gd name="T38" fmla="*/ 256 w 512"/>
                <a:gd name="T39" fmla="*/ 373 h 512"/>
                <a:gd name="T40" fmla="*/ 260 w 512"/>
                <a:gd name="T41" fmla="*/ 372 h 512"/>
                <a:gd name="T42" fmla="*/ 260 w 512"/>
                <a:gd name="T43" fmla="*/ 372 h 512"/>
                <a:gd name="T44" fmla="*/ 391 w 512"/>
                <a:gd name="T45" fmla="*/ 373 h 512"/>
                <a:gd name="T46" fmla="*/ 401 w 512"/>
                <a:gd name="T47" fmla="*/ 371 h 512"/>
                <a:gd name="T48" fmla="*/ 405 w 512"/>
                <a:gd name="T49" fmla="*/ 362 h 512"/>
                <a:gd name="T50" fmla="*/ 405 w 512"/>
                <a:gd name="T51" fmla="*/ 149 h 512"/>
                <a:gd name="T52" fmla="*/ 128 w 512"/>
                <a:gd name="T53" fmla="*/ 157 h 512"/>
                <a:gd name="T54" fmla="*/ 128 w 512"/>
                <a:gd name="T55" fmla="*/ 348 h 512"/>
                <a:gd name="T56" fmla="*/ 245 w 512"/>
                <a:gd name="T57" fmla="*/ 349 h 512"/>
                <a:gd name="T58" fmla="*/ 245 w 512"/>
                <a:gd name="T59" fmla="*/ 157 h 512"/>
                <a:gd name="T60" fmla="*/ 128 w 512"/>
                <a:gd name="T61" fmla="*/ 15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2" h="512">
                  <a:moveTo>
                    <a:pt x="384" y="157"/>
                  </a:moveTo>
                  <a:cubicBezTo>
                    <a:pt x="384" y="349"/>
                    <a:pt x="384" y="349"/>
                    <a:pt x="384" y="349"/>
                  </a:cubicBezTo>
                  <a:cubicBezTo>
                    <a:pt x="328" y="335"/>
                    <a:pt x="287" y="342"/>
                    <a:pt x="266" y="348"/>
                  </a:cubicBezTo>
                  <a:cubicBezTo>
                    <a:pt x="266" y="157"/>
                    <a:pt x="266" y="157"/>
                    <a:pt x="266" y="157"/>
                  </a:cubicBezTo>
                  <a:cubicBezTo>
                    <a:pt x="321" y="144"/>
                    <a:pt x="367" y="153"/>
                    <a:pt x="384" y="15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05" y="149"/>
                  </a:moveTo>
                  <a:cubicBezTo>
                    <a:pt x="405" y="144"/>
                    <a:pt x="402" y="140"/>
                    <a:pt x="398" y="139"/>
                  </a:cubicBezTo>
                  <a:cubicBezTo>
                    <a:pt x="395" y="138"/>
                    <a:pt x="334" y="117"/>
                    <a:pt x="256" y="138"/>
                  </a:cubicBezTo>
                  <a:cubicBezTo>
                    <a:pt x="243" y="133"/>
                    <a:pt x="191" y="120"/>
                    <a:pt x="114" y="139"/>
                  </a:cubicBezTo>
                  <a:cubicBezTo>
                    <a:pt x="110" y="140"/>
                    <a:pt x="106" y="144"/>
                    <a:pt x="106" y="149"/>
                  </a:cubicBezTo>
                  <a:cubicBezTo>
                    <a:pt x="106" y="362"/>
                    <a:pt x="106" y="362"/>
                    <a:pt x="106" y="362"/>
                  </a:cubicBezTo>
                  <a:cubicBezTo>
                    <a:pt x="106" y="366"/>
                    <a:pt x="108" y="369"/>
                    <a:pt x="111" y="371"/>
                  </a:cubicBezTo>
                  <a:cubicBezTo>
                    <a:pt x="114" y="373"/>
                    <a:pt x="118" y="374"/>
                    <a:pt x="121" y="372"/>
                  </a:cubicBezTo>
                  <a:cubicBezTo>
                    <a:pt x="122" y="372"/>
                    <a:pt x="178" y="350"/>
                    <a:pt x="253" y="373"/>
                  </a:cubicBezTo>
                  <a:cubicBezTo>
                    <a:pt x="254" y="373"/>
                    <a:pt x="255" y="373"/>
                    <a:pt x="256" y="373"/>
                  </a:cubicBezTo>
                  <a:cubicBezTo>
                    <a:pt x="257" y="373"/>
                    <a:pt x="259" y="373"/>
                    <a:pt x="260" y="372"/>
                  </a:cubicBezTo>
                  <a:cubicBezTo>
                    <a:pt x="260" y="372"/>
                    <a:pt x="260" y="372"/>
                    <a:pt x="260" y="372"/>
                  </a:cubicBezTo>
                  <a:cubicBezTo>
                    <a:pt x="261" y="372"/>
                    <a:pt x="311" y="350"/>
                    <a:pt x="391" y="373"/>
                  </a:cubicBezTo>
                  <a:cubicBezTo>
                    <a:pt x="395" y="373"/>
                    <a:pt x="398" y="373"/>
                    <a:pt x="401" y="371"/>
                  </a:cubicBezTo>
                  <a:cubicBezTo>
                    <a:pt x="403" y="369"/>
                    <a:pt x="405" y="366"/>
                    <a:pt x="405" y="362"/>
                  </a:cubicBezTo>
                  <a:lnTo>
                    <a:pt x="405" y="149"/>
                  </a:lnTo>
                  <a:close/>
                  <a:moveTo>
                    <a:pt x="128" y="157"/>
                  </a:moveTo>
                  <a:cubicBezTo>
                    <a:pt x="128" y="348"/>
                    <a:pt x="128" y="348"/>
                    <a:pt x="128" y="348"/>
                  </a:cubicBezTo>
                  <a:cubicBezTo>
                    <a:pt x="149" y="342"/>
                    <a:pt x="192" y="336"/>
                    <a:pt x="245" y="349"/>
                  </a:cubicBezTo>
                  <a:cubicBezTo>
                    <a:pt x="245" y="157"/>
                    <a:pt x="245" y="157"/>
                    <a:pt x="245" y="157"/>
                  </a:cubicBezTo>
                  <a:cubicBezTo>
                    <a:pt x="229" y="153"/>
                    <a:pt x="187" y="144"/>
                    <a:pt x="128" y="15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C6916954-43FA-4F11-B990-95AB6CBFE977}"/>
              </a:ext>
            </a:extLst>
          </p:cNvPr>
          <p:cNvGrpSpPr/>
          <p:nvPr/>
        </p:nvGrpSpPr>
        <p:grpSpPr>
          <a:xfrm>
            <a:off x="8495866" y="1810953"/>
            <a:ext cx="2265618" cy="3697840"/>
            <a:chOff x="9286441" y="1433794"/>
            <a:chExt cx="2265618" cy="369784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7F2EF20-BA41-445E-A7E0-EA7C8166339D}"/>
                </a:ext>
              </a:extLst>
            </p:cNvPr>
            <p:cNvGrpSpPr/>
            <p:nvPr/>
          </p:nvGrpSpPr>
          <p:grpSpPr>
            <a:xfrm>
              <a:off x="9286441" y="1433794"/>
              <a:ext cx="2265618" cy="3697840"/>
              <a:chOff x="121295" y="1684267"/>
              <a:chExt cx="2265618" cy="3697840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7AA43110-9C17-4184-B6E4-CA7C13530A91}"/>
                  </a:ext>
                </a:extLst>
              </p:cNvPr>
              <p:cNvGrpSpPr/>
              <p:nvPr/>
            </p:nvGrpSpPr>
            <p:grpSpPr>
              <a:xfrm>
                <a:off x="217645" y="1904870"/>
                <a:ext cx="2169268" cy="3477237"/>
                <a:chOff x="246885" y="145737"/>
                <a:chExt cx="2169268" cy="3477237"/>
              </a:xfrm>
            </p:grpSpPr>
            <p:sp>
              <p:nvSpPr>
                <p:cNvPr id="15" name="Rounded Rectangle 35">
                  <a:extLst>
                    <a:ext uri="{FF2B5EF4-FFF2-40B4-BE49-F238E27FC236}">
                      <a16:creationId xmlns:a16="http://schemas.microsoft.com/office/drawing/2014/main" id="{B3CD0718-7BB7-4DA2-B599-B96FEF6BA39D}"/>
                    </a:ext>
                  </a:extLst>
                </p:cNvPr>
                <p:cNvSpPr/>
                <p:nvPr/>
              </p:nvSpPr>
              <p:spPr>
                <a:xfrm>
                  <a:off x="246885" y="145737"/>
                  <a:ext cx="2169268" cy="3477237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accent6"/>
                </a:solidFill>
                <a:effectLst/>
              </p:spPr>
              <p:txBody>
                <a:bodyPr lIns="0" tIns="68576" rIns="0" bIns="45717">
                  <a:normAutofit/>
                </a:bodyPr>
                <a:lstStyle/>
                <a:p>
                  <a:pPr marL="0" marR="0" lvl="0" indent="0" algn="ctr" defTabSz="913973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utiger Next Pro Light"/>
                    <a:ea typeface="+mn-ea"/>
                    <a:cs typeface="+mn-cs"/>
                  </a:endParaRPr>
                </a:p>
                <a:p>
                  <a:pPr marL="0" marR="0" lvl="0" indent="0" algn="ctr" defTabSz="913973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utiger Next Pro Light"/>
                    <a:ea typeface="+mn-ea"/>
                    <a:cs typeface="+mn-cs"/>
                  </a:endParaRPr>
                </a:p>
                <a:p>
                  <a:pPr marL="123825" lvl="2" indent="0" algn="ctr">
                    <a:buNone/>
                  </a:pPr>
                  <a:r>
                    <a:rPr lang="en-US" dirty="0">
                      <a:solidFill>
                        <a:schemeClr val="bg1"/>
                      </a:solidFill>
                      <a:latin typeface="Frutiger Next Pro Light"/>
                    </a:rPr>
                    <a:t>Use Cases</a:t>
                  </a:r>
                </a:p>
              </p:txBody>
            </p:sp>
            <p:sp>
              <p:nvSpPr>
                <p:cNvPr id="16" name="Rounded Rectangle 36">
                  <a:extLst>
                    <a:ext uri="{FF2B5EF4-FFF2-40B4-BE49-F238E27FC236}">
                      <a16:creationId xmlns:a16="http://schemas.microsoft.com/office/drawing/2014/main" id="{407CFD74-37E2-4861-A552-FA99D486E8A9}"/>
                    </a:ext>
                  </a:extLst>
                </p:cNvPr>
                <p:cNvSpPr/>
                <p:nvPr/>
              </p:nvSpPr>
              <p:spPr>
                <a:xfrm>
                  <a:off x="366427" y="1396895"/>
                  <a:ext cx="1930183" cy="2210724"/>
                </a:xfrm>
                <a:prstGeom prst="roundRect">
                  <a:avLst>
                    <a:gd name="adj" fmla="val 2542"/>
                  </a:avLst>
                </a:prstGeom>
                <a:solidFill>
                  <a:srgbClr val="FFFFFF"/>
                </a:solidFill>
                <a:effectLst/>
              </p:spPr>
              <p:txBody>
                <a:bodyPr lIns="91434" tIns="137160" rIns="91434" bIns="91440">
                  <a:prstTxWarp prst="textNoShape">
                    <a:avLst/>
                  </a:prstTxWarp>
                </a:bodyPr>
                <a:lstStyle/>
                <a:p>
                  <a:pPr marL="295275" lvl="2" indent="-171450">
                    <a:buFont typeface="Arial" panose="020B0604020202020204" pitchFamily="34" charset="0"/>
                    <a:buChar char="•"/>
                  </a:pPr>
                  <a:r>
                    <a:rPr lang="en-US" sz="1200" dirty="0"/>
                    <a:t>Selecting use cases based on industry </a:t>
                  </a:r>
                </a:p>
                <a:p>
                  <a:pPr marL="295275" lvl="2" indent="-171450">
                    <a:buFont typeface="Arial" panose="020B0604020202020204" pitchFamily="34" charset="0"/>
                    <a:buChar char="•"/>
                  </a:pPr>
                  <a:r>
                    <a:rPr lang="en-US" sz="1200" dirty="0"/>
                    <a:t>Building POCs around selected use cases.</a:t>
                  </a:r>
                  <a:endParaRPr lang="en-US" sz="1200" dirty="0">
                    <a:latin typeface="Frutiger Next Pro Light"/>
                  </a:endParaRPr>
                </a:p>
              </p:txBody>
            </p:sp>
          </p:grp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B37820E1-942C-4291-913D-FF26E38E682E}"/>
                  </a:ext>
                </a:extLst>
              </p:cNvPr>
              <p:cNvSpPr/>
              <p:nvPr/>
            </p:nvSpPr>
            <p:spPr>
              <a:xfrm>
                <a:off x="121295" y="1684267"/>
                <a:ext cx="717158" cy="723145"/>
              </a:xfrm>
              <a:prstGeom prst="ellipse">
                <a:avLst/>
              </a:prstGeom>
              <a:solidFill>
                <a:srgbClr val="FFFFFF"/>
              </a:solidFill>
              <a:ln>
                <a:solidFill>
                  <a:srgbClr val="0085C3"/>
                </a:solidFill>
              </a:ln>
              <a:effectLst/>
            </p:spPr>
            <p:txBody>
              <a:bodyPr wrap="square" lIns="182876" tIns="137156" rIns="137156" bIns="137156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1" name="Freeform 489"/>
            <p:cNvSpPr>
              <a:spLocks noChangeAspect="1" noEditPoints="1"/>
            </p:cNvSpPr>
            <p:nvPr/>
          </p:nvSpPr>
          <p:spPr bwMode="auto">
            <a:xfrm>
              <a:off x="9333169" y="1499102"/>
              <a:ext cx="623701" cy="623701"/>
            </a:xfrm>
            <a:custGeom>
              <a:avLst/>
              <a:gdLst>
                <a:gd name="T0" fmla="*/ 245 w 512"/>
                <a:gd name="T1" fmla="*/ 128 h 512"/>
                <a:gd name="T2" fmla="*/ 256 w 512"/>
                <a:gd name="T3" fmla="*/ 117 h 512"/>
                <a:gd name="T4" fmla="*/ 266 w 512"/>
                <a:gd name="T5" fmla="*/ 128 h 512"/>
                <a:gd name="T6" fmla="*/ 256 w 512"/>
                <a:gd name="T7" fmla="*/ 138 h 512"/>
                <a:gd name="T8" fmla="*/ 245 w 512"/>
                <a:gd name="T9" fmla="*/ 128 h 512"/>
                <a:gd name="T10" fmla="*/ 256 w 512"/>
                <a:gd name="T11" fmla="*/ 160 h 512"/>
                <a:gd name="T12" fmla="*/ 181 w 512"/>
                <a:gd name="T13" fmla="*/ 234 h 512"/>
                <a:gd name="T14" fmla="*/ 162 w 512"/>
                <a:gd name="T15" fmla="*/ 345 h 512"/>
                <a:gd name="T16" fmla="*/ 349 w 512"/>
                <a:gd name="T17" fmla="*/ 345 h 512"/>
                <a:gd name="T18" fmla="*/ 330 w 512"/>
                <a:gd name="T19" fmla="*/ 234 h 512"/>
                <a:gd name="T20" fmla="*/ 256 w 512"/>
                <a:gd name="T21" fmla="*/ 160 h 512"/>
                <a:gd name="T22" fmla="*/ 236 w 512"/>
                <a:gd name="T23" fmla="*/ 380 h 512"/>
                <a:gd name="T24" fmla="*/ 256 w 512"/>
                <a:gd name="T25" fmla="*/ 394 h 512"/>
                <a:gd name="T26" fmla="*/ 276 w 512"/>
                <a:gd name="T27" fmla="*/ 379 h 512"/>
                <a:gd name="T28" fmla="*/ 249 w 512"/>
                <a:gd name="T29" fmla="*/ 381 h 512"/>
                <a:gd name="T30" fmla="*/ 236 w 512"/>
                <a:gd name="T31" fmla="*/ 380 h 512"/>
                <a:gd name="T32" fmla="*/ 512 w 512"/>
                <a:gd name="T33" fmla="*/ 256 h 512"/>
                <a:gd name="T34" fmla="*/ 256 w 512"/>
                <a:gd name="T35" fmla="*/ 512 h 512"/>
                <a:gd name="T36" fmla="*/ 0 w 512"/>
                <a:gd name="T37" fmla="*/ 256 h 512"/>
                <a:gd name="T38" fmla="*/ 256 w 512"/>
                <a:gd name="T39" fmla="*/ 0 h 512"/>
                <a:gd name="T40" fmla="*/ 512 w 512"/>
                <a:gd name="T41" fmla="*/ 256 h 512"/>
                <a:gd name="T42" fmla="*/ 372 w 512"/>
                <a:gd name="T43" fmla="*/ 348 h 512"/>
                <a:gd name="T44" fmla="*/ 352 w 512"/>
                <a:gd name="T45" fmla="*/ 234 h 512"/>
                <a:gd name="T46" fmla="*/ 284 w 512"/>
                <a:gd name="T47" fmla="*/ 142 h 512"/>
                <a:gd name="T48" fmla="*/ 288 w 512"/>
                <a:gd name="T49" fmla="*/ 128 h 512"/>
                <a:gd name="T50" fmla="*/ 256 w 512"/>
                <a:gd name="T51" fmla="*/ 96 h 512"/>
                <a:gd name="T52" fmla="*/ 224 w 512"/>
                <a:gd name="T53" fmla="*/ 128 h 512"/>
                <a:gd name="T54" fmla="*/ 227 w 512"/>
                <a:gd name="T55" fmla="*/ 142 h 512"/>
                <a:gd name="T56" fmla="*/ 160 w 512"/>
                <a:gd name="T57" fmla="*/ 234 h 512"/>
                <a:gd name="T58" fmla="*/ 139 w 512"/>
                <a:gd name="T59" fmla="*/ 348 h 512"/>
                <a:gd name="T60" fmla="*/ 144 w 512"/>
                <a:gd name="T61" fmla="*/ 361 h 512"/>
                <a:gd name="T62" fmla="*/ 214 w 512"/>
                <a:gd name="T63" fmla="*/ 379 h 512"/>
                <a:gd name="T64" fmla="*/ 256 w 512"/>
                <a:gd name="T65" fmla="*/ 416 h 512"/>
                <a:gd name="T66" fmla="*/ 298 w 512"/>
                <a:gd name="T67" fmla="*/ 377 h 512"/>
                <a:gd name="T68" fmla="*/ 366 w 512"/>
                <a:gd name="T69" fmla="*/ 362 h 512"/>
                <a:gd name="T70" fmla="*/ 372 w 512"/>
                <a:gd name="T71" fmla="*/ 357 h 512"/>
                <a:gd name="T72" fmla="*/ 372 w 512"/>
                <a:gd name="T73" fmla="*/ 348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12" h="512">
                  <a:moveTo>
                    <a:pt x="245" y="128"/>
                  </a:moveTo>
                  <a:cubicBezTo>
                    <a:pt x="245" y="122"/>
                    <a:pt x="250" y="117"/>
                    <a:pt x="256" y="117"/>
                  </a:cubicBezTo>
                  <a:cubicBezTo>
                    <a:pt x="262" y="117"/>
                    <a:pt x="266" y="122"/>
                    <a:pt x="266" y="128"/>
                  </a:cubicBezTo>
                  <a:cubicBezTo>
                    <a:pt x="266" y="134"/>
                    <a:pt x="262" y="138"/>
                    <a:pt x="256" y="138"/>
                  </a:cubicBezTo>
                  <a:cubicBezTo>
                    <a:pt x="250" y="138"/>
                    <a:pt x="245" y="134"/>
                    <a:pt x="245" y="128"/>
                  </a:cubicBezTo>
                  <a:close/>
                  <a:moveTo>
                    <a:pt x="256" y="160"/>
                  </a:moveTo>
                  <a:cubicBezTo>
                    <a:pt x="212" y="160"/>
                    <a:pt x="181" y="190"/>
                    <a:pt x="181" y="234"/>
                  </a:cubicBezTo>
                  <a:cubicBezTo>
                    <a:pt x="181" y="278"/>
                    <a:pt x="168" y="325"/>
                    <a:pt x="162" y="345"/>
                  </a:cubicBezTo>
                  <a:cubicBezTo>
                    <a:pt x="185" y="354"/>
                    <a:pt x="253" y="372"/>
                    <a:pt x="349" y="345"/>
                  </a:cubicBezTo>
                  <a:cubicBezTo>
                    <a:pt x="343" y="324"/>
                    <a:pt x="330" y="277"/>
                    <a:pt x="330" y="234"/>
                  </a:cubicBezTo>
                  <a:cubicBezTo>
                    <a:pt x="330" y="190"/>
                    <a:pt x="300" y="160"/>
                    <a:pt x="256" y="160"/>
                  </a:cubicBezTo>
                  <a:close/>
                  <a:moveTo>
                    <a:pt x="236" y="380"/>
                  </a:moveTo>
                  <a:cubicBezTo>
                    <a:pt x="239" y="388"/>
                    <a:pt x="246" y="394"/>
                    <a:pt x="256" y="394"/>
                  </a:cubicBezTo>
                  <a:cubicBezTo>
                    <a:pt x="265" y="394"/>
                    <a:pt x="273" y="388"/>
                    <a:pt x="276" y="379"/>
                  </a:cubicBezTo>
                  <a:cubicBezTo>
                    <a:pt x="266" y="380"/>
                    <a:pt x="257" y="381"/>
                    <a:pt x="249" y="381"/>
                  </a:cubicBezTo>
                  <a:cubicBezTo>
                    <a:pt x="244" y="381"/>
                    <a:pt x="240" y="380"/>
                    <a:pt x="236" y="380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72" y="348"/>
                  </a:moveTo>
                  <a:cubicBezTo>
                    <a:pt x="372" y="348"/>
                    <a:pt x="352" y="286"/>
                    <a:pt x="352" y="234"/>
                  </a:cubicBezTo>
                  <a:cubicBezTo>
                    <a:pt x="352" y="189"/>
                    <a:pt x="324" y="153"/>
                    <a:pt x="284" y="142"/>
                  </a:cubicBezTo>
                  <a:cubicBezTo>
                    <a:pt x="286" y="138"/>
                    <a:pt x="288" y="133"/>
                    <a:pt x="288" y="128"/>
                  </a:cubicBezTo>
                  <a:cubicBezTo>
                    <a:pt x="288" y="110"/>
                    <a:pt x="273" y="96"/>
                    <a:pt x="256" y="96"/>
                  </a:cubicBezTo>
                  <a:cubicBezTo>
                    <a:pt x="238" y="96"/>
                    <a:pt x="224" y="110"/>
                    <a:pt x="224" y="128"/>
                  </a:cubicBezTo>
                  <a:cubicBezTo>
                    <a:pt x="224" y="133"/>
                    <a:pt x="225" y="138"/>
                    <a:pt x="227" y="142"/>
                  </a:cubicBezTo>
                  <a:cubicBezTo>
                    <a:pt x="187" y="153"/>
                    <a:pt x="160" y="189"/>
                    <a:pt x="160" y="234"/>
                  </a:cubicBezTo>
                  <a:cubicBezTo>
                    <a:pt x="160" y="286"/>
                    <a:pt x="139" y="348"/>
                    <a:pt x="139" y="348"/>
                  </a:cubicBezTo>
                  <a:cubicBezTo>
                    <a:pt x="137" y="353"/>
                    <a:pt x="139" y="359"/>
                    <a:pt x="144" y="361"/>
                  </a:cubicBezTo>
                  <a:cubicBezTo>
                    <a:pt x="146" y="362"/>
                    <a:pt x="171" y="374"/>
                    <a:pt x="214" y="379"/>
                  </a:cubicBezTo>
                  <a:cubicBezTo>
                    <a:pt x="216" y="399"/>
                    <a:pt x="234" y="416"/>
                    <a:pt x="256" y="416"/>
                  </a:cubicBezTo>
                  <a:cubicBezTo>
                    <a:pt x="278" y="416"/>
                    <a:pt x="296" y="399"/>
                    <a:pt x="298" y="377"/>
                  </a:cubicBezTo>
                  <a:cubicBezTo>
                    <a:pt x="319" y="374"/>
                    <a:pt x="341" y="369"/>
                    <a:pt x="366" y="362"/>
                  </a:cubicBezTo>
                  <a:cubicBezTo>
                    <a:pt x="368" y="361"/>
                    <a:pt x="371" y="359"/>
                    <a:pt x="372" y="357"/>
                  </a:cubicBezTo>
                  <a:cubicBezTo>
                    <a:pt x="373" y="354"/>
                    <a:pt x="373" y="351"/>
                    <a:pt x="372" y="34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C7B81DA9-3D13-4018-8CEC-8C1356CD32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7501"/>
            <a:ext cx="12192000" cy="409330"/>
          </a:xfrm>
          <a:solidFill>
            <a:schemeClr val="tx1"/>
          </a:solidFill>
        </p:spPr>
        <p:txBody>
          <a:bodyPr/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In-Scope Activities.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15E7134C-AD2F-4757-975B-531827052E90}"/>
              </a:ext>
            </a:extLst>
          </p:cNvPr>
          <p:cNvSpPr txBox="1">
            <a:spLocks/>
          </p:cNvSpPr>
          <p:nvPr/>
        </p:nvSpPr>
        <p:spPr>
          <a:xfrm>
            <a:off x="2853800" y="2254249"/>
            <a:ext cx="2138400" cy="4263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300" b="1" kern="1200">
                <a:solidFill>
                  <a:schemeClr val="accent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2673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73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73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53A11C1-6D24-482C-8C61-602708257A4A}"/>
              </a:ext>
            </a:extLst>
          </p:cNvPr>
          <p:cNvGrpSpPr/>
          <p:nvPr/>
        </p:nvGrpSpPr>
        <p:grpSpPr>
          <a:xfrm>
            <a:off x="4797519" y="1795598"/>
            <a:ext cx="2265618" cy="3697840"/>
            <a:chOff x="872364" y="1668078"/>
            <a:chExt cx="2265618" cy="3697840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CE747FD4-090A-4BDF-9194-0952EAC50D3D}"/>
                </a:ext>
              </a:extLst>
            </p:cNvPr>
            <p:cNvGrpSpPr/>
            <p:nvPr/>
          </p:nvGrpSpPr>
          <p:grpSpPr>
            <a:xfrm>
              <a:off x="872364" y="1668078"/>
              <a:ext cx="2265618" cy="3697840"/>
              <a:chOff x="121295" y="1684267"/>
              <a:chExt cx="2265618" cy="3697840"/>
            </a:xfrm>
          </p:grpSpPr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01E605C7-D319-45AC-A88D-072580148655}"/>
                  </a:ext>
                </a:extLst>
              </p:cNvPr>
              <p:cNvGrpSpPr/>
              <p:nvPr/>
            </p:nvGrpSpPr>
            <p:grpSpPr>
              <a:xfrm>
                <a:off x="217645" y="1904870"/>
                <a:ext cx="2169268" cy="3477237"/>
                <a:chOff x="246885" y="145737"/>
                <a:chExt cx="2169268" cy="3477237"/>
              </a:xfrm>
            </p:grpSpPr>
            <p:sp>
              <p:nvSpPr>
                <p:cNvPr id="42" name="Rounded Rectangle 35">
                  <a:extLst>
                    <a:ext uri="{FF2B5EF4-FFF2-40B4-BE49-F238E27FC236}">
                      <a16:creationId xmlns:a16="http://schemas.microsoft.com/office/drawing/2014/main" id="{95F9A5D9-2B28-4080-ADB6-B91099790087}"/>
                    </a:ext>
                  </a:extLst>
                </p:cNvPr>
                <p:cNvSpPr/>
                <p:nvPr/>
              </p:nvSpPr>
              <p:spPr>
                <a:xfrm>
                  <a:off x="246885" y="145737"/>
                  <a:ext cx="2169268" cy="3477237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accent6"/>
                </a:solidFill>
                <a:effectLst/>
              </p:spPr>
              <p:txBody>
                <a:bodyPr lIns="0" tIns="68576" rIns="0" bIns="45717">
                  <a:normAutofit/>
                </a:bodyPr>
                <a:lstStyle/>
                <a:p>
                  <a:pPr marL="0" marR="0" lvl="0" indent="0" algn="ctr" defTabSz="913973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utiger Next Pro Light"/>
                    <a:ea typeface="+mn-ea"/>
                    <a:cs typeface="+mn-cs"/>
                  </a:endParaRPr>
                </a:p>
                <a:p>
                  <a:pPr marL="0" marR="0" lvl="0" indent="0" algn="ctr" defTabSz="913973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utiger Next Pro Light"/>
                    <a:ea typeface="+mn-ea"/>
                    <a:cs typeface="+mn-cs"/>
                  </a:endParaRPr>
                </a:p>
                <a:p>
                  <a:pPr marL="0" marR="0" lvl="0" indent="0" algn="ctr" defTabSz="913973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b="1" kern="0" dirty="0">
                      <a:solidFill>
                        <a:srgbClr val="FFFFFF"/>
                      </a:solidFill>
                      <a:latin typeface="Frutiger Next Pro Light"/>
                    </a:rPr>
                    <a:t>Reporting &amp; </a:t>
                  </a:r>
                </a:p>
                <a:p>
                  <a:pPr marL="0" marR="0" lvl="0" indent="0" algn="ctr" defTabSz="913973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b="1" kern="0" dirty="0">
                      <a:solidFill>
                        <a:srgbClr val="FFFFFF"/>
                      </a:solidFill>
                      <a:latin typeface="Frutiger Next Pro Light"/>
                    </a:rPr>
                    <a:t>Analytics</a:t>
                  </a:r>
                  <a:endParaRPr kumimoji="0" lang="en-US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rutiger Next Pro Light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Rounded Rectangle 36">
                  <a:extLst>
                    <a:ext uri="{FF2B5EF4-FFF2-40B4-BE49-F238E27FC236}">
                      <a16:creationId xmlns:a16="http://schemas.microsoft.com/office/drawing/2014/main" id="{48C314AE-802D-4576-8C4E-5030DC8CDFA2}"/>
                    </a:ext>
                  </a:extLst>
                </p:cNvPr>
                <p:cNvSpPr/>
                <p:nvPr/>
              </p:nvSpPr>
              <p:spPr>
                <a:xfrm>
                  <a:off x="366427" y="1396895"/>
                  <a:ext cx="1930183" cy="2210724"/>
                </a:xfrm>
                <a:prstGeom prst="roundRect">
                  <a:avLst>
                    <a:gd name="adj" fmla="val 2542"/>
                  </a:avLst>
                </a:prstGeom>
                <a:solidFill>
                  <a:srgbClr val="FFFFFF"/>
                </a:solidFill>
                <a:effectLst/>
              </p:spPr>
              <p:txBody>
                <a:bodyPr lIns="91434" tIns="137160" rIns="91434" bIns="91440">
                  <a:prstTxWarp prst="textNoShape">
                    <a:avLst/>
                  </a:prstTxWarp>
                </a:bodyPr>
                <a:lstStyle/>
                <a:p>
                  <a:pPr marL="295275" lvl="2" indent="-171450">
                    <a:buFont typeface="Arial" panose="020B0604020202020204" pitchFamily="34" charset="0"/>
                    <a:buChar char="•"/>
                  </a:pPr>
                  <a:r>
                    <a:rPr lang="en-US" sz="1200" dirty="0">
                      <a:latin typeface="Frutiger Next Pro Light"/>
                    </a:rPr>
                    <a:t>Research Campaign reporting using OOB features .</a:t>
                  </a:r>
                </a:p>
                <a:p>
                  <a:pPr marL="295275" lvl="2" indent="-171450">
                    <a:buFont typeface="Arial" panose="020B0604020202020204" pitchFamily="34" charset="0"/>
                    <a:buChar char="•"/>
                  </a:pPr>
                  <a:r>
                    <a:rPr lang="en-US" sz="1200" dirty="0">
                      <a:latin typeface="Frutiger Next Pro Light"/>
                    </a:rPr>
                    <a:t>Explore use of BI tools  that can be leveraged with Evergage (e.g.- Datorama )</a:t>
                  </a:r>
                </a:p>
                <a:p>
                  <a:endParaRPr lang="en-US" sz="1200" dirty="0">
                    <a:latin typeface="Frutiger Next Pro Light"/>
                  </a:endParaRPr>
                </a:p>
              </p:txBody>
            </p:sp>
          </p:grp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5B79AFC7-10E7-40B8-98A8-FDF8FC518C2A}"/>
                  </a:ext>
                </a:extLst>
              </p:cNvPr>
              <p:cNvSpPr/>
              <p:nvPr/>
            </p:nvSpPr>
            <p:spPr>
              <a:xfrm>
                <a:off x="121295" y="1684267"/>
                <a:ext cx="717158" cy="723145"/>
              </a:xfrm>
              <a:prstGeom prst="ellipse">
                <a:avLst/>
              </a:prstGeom>
              <a:solidFill>
                <a:srgbClr val="FFFFFF"/>
              </a:solidFill>
              <a:ln>
                <a:solidFill>
                  <a:srgbClr val="0085C3"/>
                </a:solidFill>
              </a:ln>
              <a:effectLst/>
            </p:spPr>
            <p:txBody>
              <a:bodyPr wrap="square" lIns="182876" tIns="137156" rIns="137156" bIns="137156"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39" name="Freeform 723">
              <a:extLst>
                <a:ext uri="{FF2B5EF4-FFF2-40B4-BE49-F238E27FC236}">
                  <a16:creationId xmlns:a16="http://schemas.microsoft.com/office/drawing/2014/main" id="{E7D04282-47ED-491B-B25A-3D48CBACBD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12891" y="1721884"/>
              <a:ext cx="646241" cy="646241"/>
            </a:xfrm>
            <a:custGeom>
              <a:avLst/>
              <a:gdLst>
                <a:gd name="T0" fmla="*/ 248 w 512"/>
                <a:gd name="T1" fmla="*/ 263 h 512"/>
                <a:gd name="T2" fmla="*/ 263 w 512"/>
                <a:gd name="T3" fmla="*/ 263 h 512"/>
                <a:gd name="T4" fmla="*/ 288 w 512"/>
                <a:gd name="T5" fmla="*/ 256 h 512"/>
                <a:gd name="T6" fmla="*/ 224 w 512"/>
                <a:gd name="T7" fmla="*/ 256 h 512"/>
                <a:gd name="T8" fmla="*/ 269 w 512"/>
                <a:gd name="T9" fmla="*/ 227 h 512"/>
                <a:gd name="T10" fmla="*/ 331 w 512"/>
                <a:gd name="T11" fmla="*/ 196 h 512"/>
                <a:gd name="T12" fmla="*/ 256 w 512"/>
                <a:gd name="T13" fmla="*/ 352 h 512"/>
                <a:gd name="T14" fmla="*/ 256 w 512"/>
                <a:gd name="T15" fmla="*/ 160 h 512"/>
                <a:gd name="T16" fmla="*/ 331 w 512"/>
                <a:gd name="T17" fmla="*/ 166 h 512"/>
                <a:gd name="T18" fmla="*/ 138 w 512"/>
                <a:gd name="T19" fmla="*/ 256 h 512"/>
                <a:gd name="T20" fmla="*/ 373 w 512"/>
                <a:gd name="T21" fmla="*/ 256 h 512"/>
                <a:gd name="T22" fmla="*/ 331 w 512"/>
                <a:gd name="T23" fmla="*/ 196 h 512"/>
                <a:gd name="T24" fmla="*/ 181 w 512"/>
                <a:gd name="T25" fmla="*/ 256 h 512"/>
                <a:gd name="T26" fmla="*/ 330 w 512"/>
                <a:gd name="T27" fmla="*/ 256 h 512"/>
                <a:gd name="T28" fmla="*/ 300 w 512"/>
                <a:gd name="T29" fmla="*/ 226 h 512"/>
                <a:gd name="T30" fmla="*/ 256 w 512"/>
                <a:gd name="T31" fmla="*/ 309 h 512"/>
                <a:gd name="T32" fmla="*/ 256 w 512"/>
                <a:gd name="T33" fmla="*/ 202 h 512"/>
                <a:gd name="T34" fmla="*/ 300 w 512"/>
                <a:gd name="T35" fmla="*/ 196 h 512"/>
                <a:gd name="T36" fmla="*/ 512 w 512"/>
                <a:gd name="T37" fmla="*/ 256 h 512"/>
                <a:gd name="T38" fmla="*/ 0 w 512"/>
                <a:gd name="T39" fmla="*/ 256 h 512"/>
                <a:gd name="T40" fmla="*/ 512 w 512"/>
                <a:gd name="T41" fmla="*/ 256 h 512"/>
                <a:gd name="T42" fmla="*/ 394 w 512"/>
                <a:gd name="T43" fmla="*/ 138 h 512"/>
                <a:gd name="T44" fmla="*/ 373 w 512"/>
                <a:gd name="T45" fmla="*/ 117 h 512"/>
                <a:gd name="T46" fmla="*/ 352 w 512"/>
                <a:gd name="T47" fmla="*/ 117 h 512"/>
                <a:gd name="T48" fmla="*/ 346 w 512"/>
                <a:gd name="T49" fmla="*/ 150 h 512"/>
                <a:gd name="T50" fmla="*/ 117 w 512"/>
                <a:gd name="T51" fmla="*/ 256 h 512"/>
                <a:gd name="T52" fmla="*/ 141 w 512"/>
                <a:gd name="T53" fmla="*/ 376 h 512"/>
                <a:gd name="T54" fmla="*/ 149 w 512"/>
                <a:gd name="T55" fmla="*/ 394 h 512"/>
                <a:gd name="T56" fmla="*/ 178 w 512"/>
                <a:gd name="T57" fmla="*/ 370 h 512"/>
                <a:gd name="T58" fmla="*/ 334 w 512"/>
                <a:gd name="T59" fmla="*/ 370 h 512"/>
                <a:gd name="T60" fmla="*/ 362 w 512"/>
                <a:gd name="T61" fmla="*/ 394 h 512"/>
                <a:gd name="T62" fmla="*/ 370 w 512"/>
                <a:gd name="T63" fmla="*/ 376 h 512"/>
                <a:gd name="T64" fmla="*/ 394 w 512"/>
                <a:gd name="T65" fmla="*/ 256 h 512"/>
                <a:gd name="T66" fmla="*/ 367 w 512"/>
                <a:gd name="T67" fmla="*/ 160 h 512"/>
                <a:gd name="T68" fmla="*/ 405 w 512"/>
                <a:gd name="T69" fmla="*/ 14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2" h="512">
                  <a:moveTo>
                    <a:pt x="248" y="248"/>
                  </a:moveTo>
                  <a:cubicBezTo>
                    <a:pt x="244" y="252"/>
                    <a:pt x="244" y="259"/>
                    <a:pt x="248" y="263"/>
                  </a:cubicBezTo>
                  <a:cubicBezTo>
                    <a:pt x="250" y="265"/>
                    <a:pt x="253" y="266"/>
                    <a:pt x="256" y="266"/>
                  </a:cubicBezTo>
                  <a:cubicBezTo>
                    <a:pt x="258" y="266"/>
                    <a:pt x="261" y="265"/>
                    <a:pt x="263" y="263"/>
                  </a:cubicBezTo>
                  <a:cubicBezTo>
                    <a:pt x="284" y="242"/>
                    <a:pt x="284" y="242"/>
                    <a:pt x="284" y="242"/>
                  </a:cubicBezTo>
                  <a:cubicBezTo>
                    <a:pt x="286" y="246"/>
                    <a:pt x="288" y="251"/>
                    <a:pt x="288" y="256"/>
                  </a:cubicBezTo>
                  <a:cubicBezTo>
                    <a:pt x="288" y="273"/>
                    <a:pt x="273" y="288"/>
                    <a:pt x="256" y="288"/>
                  </a:cubicBezTo>
                  <a:cubicBezTo>
                    <a:pt x="238" y="288"/>
                    <a:pt x="224" y="273"/>
                    <a:pt x="224" y="256"/>
                  </a:cubicBezTo>
                  <a:cubicBezTo>
                    <a:pt x="224" y="238"/>
                    <a:pt x="238" y="224"/>
                    <a:pt x="256" y="224"/>
                  </a:cubicBezTo>
                  <a:cubicBezTo>
                    <a:pt x="261" y="224"/>
                    <a:pt x="265" y="225"/>
                    <a:pt x="269" y="227"/>
                  </a:cubicBezTo>
                  <a:lnTo>
                    <a:pt x="248" y="248"/>
                  </a:lnTo>
                  <a:close/>
                  <a:moveTo>
                    <a:pt x="331" y="196"/>
                  </a:moveTo>
                  <a:cubicBezTo>
                    <a:pt x="344" y="212"/>
                    <a:pt x="352" y="233"/>
                    <a:pt x="352" y="256"/>
                  </a:cubicBezTo>
                  <a:cubicBezTo>
                    <a:pt x="352" y="309"/>
                    <a:pt x="309" y="352"/>
                    <a:pt x="256" y="352"/>
                  </a:cubicBezTo>
                  <a:cubicBezTo>
                    <a:pt x="203" y="352"/>
                    <a:pt x="160" y="309"/>
                    <a:pt x="160" y="256"/>
                  </a:cubicBezTo>
                  <a:cubicBezTo>
                    <a:pt x="160" y="203"/>
                    <a:pt x="203" y="160"/>
                    <a:pt x="256" y="160"/>
                  </a:cubicBezTo>
                  <a:cubicBezTo>
                    <a:pt x="278" y="160"/>
                    <a:pt x="299" y="168"/>
                    <a:pt x="316" y="181"/>
                  </a:cubicBezTo>
                  <a:cubicBezTo>
                    <a:pt x="331" y="166"/>
                    <a:pt x="331" y="166"/>
                    <a:pt x="331" y="166"/>
                  </a:cubicBezTo>
                  <a:cubicBezTo>
                    <a:pt x="310" y="149"/>
                    <a:pt x="284" y="138"/>
                    <a:pt x="256" y="138"/>
                  </a:cubicBezTo>
                  <a:cubicBezTo>
                    <a:pt x="191" y="138"/>
                    <a:pt x="138" y="191"/>
                    <a:pt x="138" y="256"/>
                  </a:cubicBezTo>
                  <a:cubicBezTo>
                    <a:pt x="138" y="320"/>
                    <a:pt x="191" y="373"/>
                    <a:pt x="256" y="373"/>
                  </a:cubicBezTo>
                  <a:cubicBezTo>
                    <a:pt x="320" y="373"/>
                    <a:pt x="373" y="320"/>
                    <a:pt x="373" y="256"/>
                  </a:cubicBezTo>
                  <a:cubicBezTo>
                    <a:pt x="373" y="227"/>
                    <a:pt x="363" y="201"/>
                    <a:pt x="346" y="181"/>
                  </a:cubicBezTo>
                  <a:lnTo>
                    <a:pt x="331" y="196"/>
                  </a:lnTo>
                  <a:close/>
                  <a:moveTo>
                    <a:pt x="256" y="181"/>
                  </a:moveTo>
                  <a:cubicBezTo>
                    <a:pt x="214" y="181"/>
                    <a:pt x="181" y="214"/>
                    <a:pt x="181" y="256"/>
                  </a:cubicBezTo>
                  <a:cubicBezTo>
                    <a:pt x="181" y="297"/>
                    <a:pt x="214" y="330"/>
                    <a:pt x="256" y="330"/>
                  </a:cubicBezTo>
                  <a:cubicBezTo>
                    <a:pt x="297" y="330"/>
                    <a:pt x="330" y="297"/>
                    <a:pt x="330" y="256"/>
                  </a:cubicBezTo>
                  <a:cubicBezTo>
                    <a:pt x="330" y="239"/>
                    <a:pt x="325" y="224"/>
                    <a:pt x="315" y="211"/>
                  </a:cubicBezTo>
                  <a:cubicBezTo>
                    <a:pt x="300" y="226"/>
                    <a:pt x="300" y="226"/>
                    <a:pt x="300" y="226"/>
                  </a:cubicBezTo>
                  <a:cubicBezTo>
                    <a:pt x="306" y="235"/>
                    <a:pt x="309" y="245"/>
                    <a:pt x="309" y="256"/>
                  </a:cubicBezTo>
                  <a:cubicBezTo>
                    <a:pt x="309" y="285"/>
                    <a:pt x="285" y="309"/>
                    <a:pt x="256" y="309"/>
                  </a:cubicBezTo>
                  <a:cubicBezTo>
                    <a:pt x="226" y="309"/>
                    <a:pt x="202" y="285"/>
                    <a:pt x="202" y="256"/>
                  </a:cubicBezTo>
                  <a:cubicBezTo>
                    <a:pt x="202" y="226"/>
                    <a:pt x="226" y="202"/>
                    <a:pt x="256" y="202"/>
                  </a:cubicBezTo>
                  <a:cubicBezTo>
                    <a:pt x="267" y="202"/>
                    <a:pt x="277" y="206"/>
                    <a:pt x="285" y="211"/>
                  </a:cubicBezTo>
                  <a:cubicBezTo>
                    <a:pt x="300" y="196"/>
                    <a:pt x="300" y="196"/>
                    <a:pt x="300" y="196"/>
                  </a:cubicBezTo>
                  <a:cubicBezTo>
                    <a:pt x="288" y="187"/>
                    <a:pt x="272" y="181"/>
                    <a:pt x="256" y="181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05" y="149"/>
                  </a:moveTo>
                  <a:cubicBezTo>
                    <a:pt x="405" y="143"/>
                    <a:pt x="400" y="138"/>
                    <a:pt x="394" y="138"/>
                  </a:cubicBezTo>
                  <a:cubicBezTo>
                    <a:pt x="373" y="138"/>
                    <a:pt x="373" y="138"/>
                    <a:pt x="373" y="138"/>
                  </a:cubicBezTo>
                  <a:cubicBezTo>
                    <a:pt x="373" y="117"/>
                    <a:pt x="373" y="117"/>
                    <a:pt x="373" y="117"/>
                  </a:cubicBezTo>
                  <a:cubicBezTo>
                    <a:pt x="373" y="111"/>
                    <a:pt x="368" y="106"/>
                    <a:pt x="362" y="106"/>
                  </a:cubicBezTo>
                  <a:cubicBezTo>
                    <a:pt x="356" y="106"/>
                    <a:pt x="352" y="111"/>
                    <a:pt x="352" y="117"/>
                  </a:cubicBezTo>
                  <a:cubicBezTo>
                    <a:pt x="352" y="145"/>
                    <a:pt x="352" y="145"/>
                    <a:pt x="352" y="145"/>
                  </a:cubicBezTo>
                  <a:cubicBezTo>
                    <a:pt x="346" y="150"/>
                    <a:pt x="346" y="150"/>
                    <a:pt x="346" y="150"/>
                  </a:cubicBezTo>
                  <a:cubicBezTo>
                    <a:pt x="322" y="130"/>
                    <a:pt x="290" y="117"/>
                    <a:pt x="256" y="117"/>
                  </a:cubicBezTo>
                  <a:cubicBezTo>
                    <a:pt x="179" y="117"/>
                    <a:pt x="117" y="179"/>
                    <a:pt x="117" y="256"/>
                  </a:cubicBezTo>
                  <a:cubicBezTo>
                    <a:pt x="117" y="295"/>
                    <a:pt x="134" y="331"/>
                    <a:pt x="161" y="357"/>
                  </a:cubicBezTo>
                  <a:cubicBezTo>
                    <a:pt x="141" y="376"/>
                    <a:pt x="141" y="376"/>
                    <a:pt x="141" y="376"/>
                  </a:cubicBezTo>
                  <a:cubicBezTo>
                    <a:pt x="137" y="380"/>
                    <a:pt x="137" y="387"/>
                    <a:pt x="141" y="391"/>
                  </a:cubicBezTo>
                  <a:cubicBezTo>
                    <a:pt x="144" y="393"/>
                    <a:pt x="146" y="394"/>
                    <a:pt x="149" y="394"/>
                  </a:cubicBezTo>
                  <a:cubicBezTo>
                    <a:pt x="152" y="394"/>
                    <a:pt x="154" y="393"/>
                    <a:pt x="157" y="391"/>
                  </a:cubicBezTo>
                  <a:cubicBezTo>
                    <a:pt x="178" y="370"/>
                    <a:pt x="178" y="370"/>
                    <a:pt x="178" y="370"/>
                  </a:cubicBezTo>
                  <a:cubicBezTo>
                    <a:pt x="200" y="385"/>
                    <a:pt x="227" y="394"/>
                    <a:pt x="256" y="394"/>
                  </a:cubicBezTo>
                  <a:cubicBezTo>
                    <a:pt x="285" y="394"/>
                    <a:pt x="311" y="385"/>
                    <a:pt x="334" y="370"/>
                  </a:cubicBezTo>
                  <a:cubicBezTo>
                    <a:pt x="355" y="391"/>
                    <a:pt x="355" y="391"/>
                    <a:pt x="355" y="391"/>
                  </a:cubicBezTo>
                  <a:cubicBezTo>
                    <a:pt x="357" y="393"/>
                    <a:pt x="360" y="394"/>
                    <a:pt x="362" y="394"/>
                  </a:cubicBezTo>
                  <a:cubicBezTo>
                    <a:pt x="365" y="394"/>
                    <a:pt x="368" y="393"/>
                    <a:pt x="370" y="391"/>
                  </a:cubicBezTo>
                  <a:cubicBezTo>
                    <a:pt x="374" y="387"/>
                    <a:pt x="374" y="380"/>
                    <a:pt x="370" y="376"/>
                  </a:cubicBezTo>
                  <a:cubicBezTo>
                    <a:pt x="350" y="357"/>
                    <a:pt x="350" y="357"/>
                    <a:pt x="350" y="357"/>
                  </a:cubicBezTo>
                  <a:cubicBezTo>
                    <a:pt x="377" y="331"/>
                    <a:pt x="394" y="295"/>
                    <a:pt x="394" y="256"/>
                  </a:cubicBezTo>
                  <a:cubicBezTo>
                    <a:pt x="394" y="221"/>
                    <a:pt x="382" y="190"/>
                    <a:pt x="361" y="166"/>
                  </a:cubicBezTo>
                  <a:cubicBezTo>
                    <a:pt x="367" y="160"/>
                    <a:pt x="367" y="160"/>
                    <a:pt x="367" y="160"/>
                  </a:cubicBezTo>
                  <a:cubicBezTo>
                    <a:pt x="394" y="160"/>
                    <a:pt x="394" y="160"/>
                    <a:pt x="394" y="160"/>
                  </a:cubicBezTo>
                  <a:cubicBezTo>
                    <a:pt x="400" y="160"/>
                    <a:pt x="405" y="155"/>
                    <a:pt x="405" y="14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</p:grpSp>
      <p:pic>
        <p:nvPicPr>
          <p:cNvPr id="58" name="Picture 57">
            <a:extLst>
              <a:ext uri="{FF2B5EF4-FFF2-40B4-BE49-F238E27FC236}">
                <a16:creationId xmlns:a16="http://schemas.microsoft.com/office/drawing/2014/main" id="{4A3B64A7-4AE8-4C49-BDAE-124898C88B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678" y="6426731"/>
            <a:ext cx="3133725" cy="23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65290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ext Placeholder 2"/>
          <p:cNvSpPr txBox="1">
            <a:spLocks/>
          </p:cNvSpPr>
          <p:nvPr/>
        </p:nvSpPr>
        <p:spPr>
          <a:xfrm>
            <a:off x="3408743" y="2145477"/>
            <a:ext cx="2134527" cy="1434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600" kern="1200" spc="-3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Bef>
                <a:spcPts val="400"/>
              </a:spcBef>
            </a:pPr>
            <a:endParaRPr lang="en-US" sz="1000" dirty="0">
              <a:latin typeface="+mn-lt"/>
            </a:endParaRPr>
          </a:p>
        </p:txBody>
      </p:sp>
      <p:cxnSp>
        <p:nvCxnSpPr>
          <p:cNvPr id="44" name="Straight Connector 43"/>
          <p:cNvCxnSpPr/>
          <p:nvPr/>
        </p:nvCxnSpPr>
        <p:spPr>
          <a:xfrm>
            <a:off x="0" y="3510236"/>
            <a:ext cx="12192000" cy="0"/>
          </a:xfrm>
          <a:prstGeom prst="line">
            <a:avLst/>
          </a:prstGeom>
          <a:ln w="28575"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4513C00-65FE-4533-B6AF-458CE758933A}"/>
              </a:ext>
            </a:extLst>
          </p:cNvPr>
          <p:cNvGrpSpPr/>
          <p:nvPr/>
        </p:nvGrpSpPr>
        <p:grpSpPr>
          <a:xfrm rot="10800000">
            <a:off x="9965923" y="2281275"/>
            <a:ext cx="711200" cy="1281661"/>
            <a:chOff x="10800803" y="3451105"/>
            <a:chExt cx="711200" cy="1281661"/>
          </a:xfrm>
        </p:grpSpPr>
        <p:cxnSp>
          <p:nvCxnSpPr>
            <p:cNvPr id="30" name="Straight Connector 29"/>
            <p:cNvCxnSpPr/>
            <p:nvPr/>
          </p:nvCxnSpPr>
          <p:spPr>
            <a:xfrm>
              <a:off x="11141799" y="3510236"/>
              <a:ext cx="0" cy="752361"/>
            </a:xfrm>
            <a:prstGeom prst="line">
              <a:avLst/>
            </a:prstGeom>
            <a:ln w="28575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val 18"/>
            <p:cNvSpPr/>
            <p:nvPr/>
          </p:nvSpPr>
          <p:spPr>
            <a:xfrm>
              <a:off x="10800803" y="4021566"/>
              <a:ext cx="711200" cy="7112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3" name="Oval 62"/>
            <p:cNvSpPr/>
            <p:nvPr/>
          </p:nvSpPr>
          <p:spPr>
            <a:xfrm>
              <a:off x="11082669" y="3451105"/>
              <a:ext cx="118260" cy="11826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5" name="Text Placeholder 2"/>
          <p:cNvSpPr txBox="1">
            <a:spLocks/>
          </p:cNvSpPr>
          <p:nvPr/>
        </p:nvSpPr>
        <p:spPr>
          <a:xfrm>
            <a:off x="1484317" y="3939117"/>
            <a:ext cx="2093299" cy="14809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600" kern="1200" spc="-3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Bef>
                <a:spcPts val="400"/>
              </a:spcBef>
            </a:pPr>
            <a:endParaRPr lang="en-US" sz="1000" dirty="0">
              <a:latin typeface="+mn-lt"/>
            </a:endParaRPr>
          </a:p>
        </p:txBody>
      </p:sp>
      <p:sp>
        <p:nvSpPr>
          <p:cNvPr id="39" name="Title 10">
            <a:extLst>
              <a:ext uri="{FF2B5EF4-FFF2-40B4-BE49-F238E27FC236}">
                <a16:creationId xmlns:a16="http://schemas.microsoft.com/office/drawing/2014/main" id="{27CCB9AE-270E-4475-BA23-37295D9041A3}"/>
              </a:ext>
            </a:extLst>
          </p:cNvPr>
          <p:cNvSpPr txBox="1">
            <a:spLocks/>
          </p:cNvSpPr>
          <p:nvPr/>
        </p:nvSpPr>
        <p:spPr>
          <a:xfrm>
            <a:off x="-1" y="165101"/>
            <a:ext cx="12191999" cy="409330"/>
          </a:xfrm>
          <a:prstGeom prst="rect">
            <a:avLst/>
          </a:prstGeom>
          <a:solidFill>
            <a:schemeClr val="tx1"/>
          </a:solidFill>
        </p:spPr>
        <p:txBody>
          <a:bodyPr vert="horz" lIns="0" tIns="4572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>
                <a:solidFill>
                  <a:schemeClr val="bg1"/>
                </a:solidFill>
              </a:rPr>
              <a:t> Use cases &amp; Timelin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99C6EAB-976D-4E41-A5E4-48C7128EE1E3}"/>
              </a:ext>
            </a:extLst>
          </p:cNvPr>
          <p:cNvSpPr txBox="1"/>
          <p:nvPr/>
        </p:nvSpPr>
        <p:spPr>
          <a:xfrm>
            <a:off x="2362065" y="3273452"/>
            <a:ext cx="5693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Sep 02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5A95D6A-F372-4DFD-920E-49682108D337}"/>
              </a:ext>
            </a:extLst>
          </p:cNvPr>
          <p:cNvSpPr txBox="1"/>
          <p:nvPr/>
        </p:nvSpPr>
        <p:spPr>
          <a:xfrm>
            <a:off x="11413333" y="3242195"/>
            <a:ext cx="5693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Feb 03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1753673-945C-4A58-9905-15743B4408F0}"/>
              </a:ext>
            </a:extLst>
          </p:cNvPr>
          <p:cNvSpPr txBox="1"/>
          <p:nvPr/>
        </p:nvSpPr>
        <p:spPr>
          <a:xfrm>
            <a:off x="8544800" y="3224175"/>
            <a:ext cx="5774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Dec 16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1446C6B-0B28-48B3-B802-28E10F7F59F1}"/>
              </a:ext>
            </a:extLst>
          </p:cNvPr>
          <p:cNvSpPr txBox="1"/>
          <p:nvPr/>
        </p:nvSpPr>
        <p:spPr>
          <a:xfrm>
            <a:off x="3768176" y="3542343"/>
            <a:ext cx="60144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Sep 30 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B05938F3-9515-447F-B9F4-F045A717E82C}"/>
              </a:ext>
            </a:extLst>
          </p:cNvPr>
          <p:cNvSpPr/>
          <p:nvPr/>
        </p:nvSpPr>
        <p:spPr>
          <a:xfrm>
            <a:off x="634148" y="3462117"/>
            <a:ext cx="118260" cy="11826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A767EAE7-DF00-4701-9207-4AFA24D1F5F4}"/>
              </a:ext>
            </a:extLst>
          </p:cNvPr>
          <p:cNvSpPr/>
          <p:nvPr/>
        </p:nvSpPr>
        <p:spPr>
          <a:xfrm>
            <a:off x="337678" y="3165647"/>
            <a:ext cx="711200" cy="7112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F9415F0-B03F-455B-A736-2DC26D6AD9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332" y="3286392"/>
            <a:ext cx="483730" cy="46970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46CC98F-B7C7-4271-AB2A-E3FD727669AD}"/>
              </a:ext>
            </a:extLst>
          </p:cNvPr>
          <p:cNvSpPr txBox="1"/>
          <p:nvPr/>
        </p:nvSpPr>
        <p:spPr>
          <a:xfrm>
            <a:off x="285355" y="3897427"/>
            <a:ext cx="8433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Evergage</a:t>
            </a:r>
          </a:p>
          <a:p>
            <a:r>
              <a:rPr lang="en-US" sz="1200" b="1" dirty="0"/>
              <a:t>Kick-off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7F719B2-7B03-400F-BBBA-199F605D1277}"/>
              </a:ext>
            </a:extLst>
          </p:cNvPr>
          <p:cNvGrpSpPr/>
          <p:nvPr/>
        </p:nvGrpSpPr>
        <p:grpSpPr>
          <a:xfrm>
            <a:off x="4083439" y="3475384"/>
            <a:ext cx="2104471" cy="2434139"/>
            <a:chOff x="5354895" y="3462117"/>
            <a:chExt cx="2104471" cy="2434139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6869151" y="3521247"/>
              <a:ext cx="0" cy="752361"/>
            </a:xfrm>
            <a:prstGeom prst="line">
              <a:avLst/>
            </a:prstGeom>
            <a:ln w="28575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6510089" y="4021566"/>
              <a:ext cx="711200" cy="7112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/>
            <p:cNvSpPr/>
            <p:nvPr/>
          </p:nvSpPr>
          <p:spPr>
            <a:xfrm>
              <a:off x="6806559" y="3462117"/>
              <a:ext cx="118260" cy="11826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Text Placeholder 2"/>
            <p:cNvSpPr txBox="1">
              <a:spLocks/>
            </p:cNvSpPr>
            <p:nvPr/>
          </p:nvSpPr>
          <p:spPr>
            <a:xfrm>
              <a:off x="5354895" y="3939117"/>
              <a:ext cx="2104471" cy="1957139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600" kern="1200" spc="-30">
                  <a:solidFill>
                    <a:schemeClr val="tx2"/>
                  </a:solidFill>
                  <a:latin typeface="Open Sans" charset="0"/>
                  <a:ea typeface="Open Sans" charset="0"/>
                  <a:cs typeface="Open Sans" charset="0"/>
                </a:defRPr>
              </a:lvl1pPr>
              <a:lvl2pPr marL="4572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8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2pPr>
              <a:lvl3pPr marL="9144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6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3pPr>
              <a:lvl4pPr marL="13716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4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4pPr>
              <a:lvl5pPr marL="1828800" indent="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None/>
                <a:defRPr sz="14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5000"/>
                </a:lnSpc>
                <a:spcBef>
                  <a:spcPts val="400"/>
                </a:spcBef>
              </a:pPr>
              <a:endParaRPr lang="en-US" sz="1000" dirty="0">
                <a:latin typeface="+mn-lt"/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9AB7E8D8-9E32-47B2-A31F-CDD9D76399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56280" y="4170173"/>
              <a:ext cx="418818" cy="416765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01393BBE-709F-4772-BD0D-3B0CB5E70288}"/>
              </a:ext>
            </a:extLst>
          </p:cNvPr>
          <p:cNvGrpSpPr/>
          <p:nvPr/>
        </p:nvGrpSpPr>
        <p:grpSpPr>
          <a:xfrm>
            <a:off x="3706362" y="2103455"/>
            <a:ext cx="711200" cy="1477480"/>
            <a:chOff x="4011329" y="2102896"/>
            <a:chExt cx="711200" cy="1477480"/>
          </a:xfrm>
        </p:grpSpPr>
        <p:sp>
          <p:nvSpPr>
            <p:cNvPr id="60" name="Oval 59"/>
            <p:cNvSpPr/>
            <p:nvPr/>
          </p:nvSpPr>
          <p:spPr>
            <a:xfrm>
              <a:off x="4336053" y="3462116"/>
              <a:ext cx="118260" cy="11826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6B7B5DCF-24E1-49E5-870D-171F51941375}"/>
                </a:ext>
              </a:extLst>
            </p:cNvPr>
            <p:cNvGrpSpPr/>
            <p:nvPr/>
          </p:nvGrpSpPr>
          <p:grpSpPr>
            <a:xfrm>
              <a:off x="4011329" y="2102896"/>
              <a:ext cx="711200" cy="1348211"/>
              <a:chOff x="4480246" y="2327234"/>
              <a:chExt cx="711200" cy="1348211"/>
            </a:xfrm>
          </p:grpSpPr>
          <p:cxnSp>
            <p:nvCxnSpPr>
              <p:cNvPr id="27" name="Straight Connector 26"/>
              <p:cNvCxnSpPr>
                <a:cxnSpLocks/>
              </p:cNvCxnSpPr>
              <p:nvPr/>
            </p:nvCxnSpPr>
            <p:spPr>
              <a:xfrm flipH="1">
                <a:off x="4863990" y="2904716"/>
                <a:ext cx="110" cy="770729"/>
              </a:xfrm>
              <a:prstGeom prst="line">
                <a:avLst/>
              </a:prstGeom>
              <a:ln w="28575">
                <a:solidFill>
                  <a:schemeClr val="accent6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Oval 15"/>
              <p:cNvSpPr/>
              <p:nvPr/>
            </p:nvSpPr>
            <p:spPr>
              <a:xfrm>
                <a:off x="4480246" y="2327234"/>
                <a:ext cx="711200" cy="71120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6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6E880FB1-015B-47B9-BD9C-B602C076F6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575914" y="2483819"/>
                <a:ext cx="454020" cy="395646"/>
              </a:xfrm>
              <a:prstGeom prst="rect">
                <a:avLst/>
              </a:prstGeom>
            </p:spPr>
          </p:pic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AC1E477D-0A52-4950-88A4-53598123E83F}"/>
              </a:ext>
            </a:extLst>
          </p:cNvPr>
          <p:cNvGrpSpPr/>
          <p:nvPr/>
        </p:nvGrpSpPr>
        <p:grpSpPr>
          <a:xfrm>
            <a:off x="2241410" y="3487205"/>
            <a:ext cx="711200" cy="1217876"/>
            <a:chOff x="2460913" y="3478658"/>
            <a:chExt cx="711200" cy="1217876"/>
          </a:xfrm>
        </p:grpSpPr>
        <p:cxnSp>
          <p:nvCxnSpPr>
            <p:cNvPr id="25" name="Straight Connector 24"/>
            <p:cNvCxnSpPr/>
            <p:nvPr/>
          </p:nvCxnSpPr>
          <p:spPr>
            <a:xfrm>
              <a:off x="2816513" y="3562936"/>
              <a:ext cx="0" cy="752361"/>
            </a:xfrm>
            <a:prstGeom prst="line">
              <a:avLst/>
            </a:prstGeom>
            <a:ln w="28575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Oval 14"/>
            <p:cNvSpPr/>
            <p:nvPr/>
          </p:nvSpPr>
          <p:spPr>
            <a:xfrm>
              <a:off x="2460913" y="3985334"/>
              <a:ext cx="711200" cy="7112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Oval 23"/>
            <p:cNvSpPr/>
            <p:nvPr/>
          </p:nvSpPr>
          <p:spPr>
            <a:xfrm>
              <a:off x="2757383" y="3478658"/>
              <a:ext cx="118260" cy="11826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72AF17C4-4711-4D68-8A06-EE766CFFE98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564974" y="4090963"/>
              <a:ext cx="508272" cy="482471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3BA97F1F-10B2-42AF-B7EE-439E4F012529}"/>
              </a:ext>
            </a:extLst>
          </p:cNvPr>
          <p:cNvSpPr txBox="1"/>
          <p:nvPr/>
        </p:nvSpPr>
        <p:spPr>
          <a:xfrm>
            <a:off x="2292040" y="4839630"/>
            <a:ext cx="11167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Evergage Capability Deck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A6A3EBC-DBC9-4299-A426-2C1806C5EC63}"/>
              </a:ext>
            </a:extLst>
          </p:cNvPr>
          <p:cNvGrpSpPr/>
          <p:nvPr/>
        </p:nvGrpSpPr>
        <p:grpSpPr>
          <a:xfrm rot="10800000">
            <a:off x="11368857" y="3486177"/>
            <a:ext cx="711200" cy="1491953"/>
            <a:chOff x="9299437" y="2086041"/>
            <a:chExt cx="711200" cy="1491953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C6FA7305-F492-46D3-B74E-0CE90DF802AF}"/>
                </a:ext>
              </a:extLst>
            </p:cNvPr>
            <p:cNvSpPr/>
            <p:nvPr/>
          </p:nvSpPr>
          <p:spPr>
            <a:xfrm>
              <a:off x="9595907" y="3459734"/>
              <a:ext cx="118260" cy="11826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746C5DBC-5B6A-4F4A-A505-DE51B3550883}"/>
                </a:ext>
              </a:extLst>
            </p:cNvPr>
            <p:cNvGrpSpPr/>
            <p:nvPr/>
          </p:nvGrpSpPr>
          <p:grpSpPr>
            <a:xfrm>
              <a:off x="9299437" y="2086041"/>
              <a:ext cx="711200" cy="1337514"/>
              <a:chOff x="8574576" y="2339001"/>
              <a:chExt cx="711200" cy="1247508"/>
            </a:xfrm>
          </p:grpSpPr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7996FD7B-50A7-4586-BF1B-98448D3C20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30176" y="2834148"/>
                <a:ext cx="0" cy="752361"/>
              </a:xfrm>
              <a:prstGeom prst="line">
                <a:avLst/>
              </a:prstGeom>
              <a:ln w="28575">
                <a:solidFill>
                  <a:schemeClr val="accent6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926092AC-7914-4669-B84D-84AF00E83AA1}"/>
                  </a:ext>
                </a:extLst>
              </p:cNvPr>
              <p:cNvSpPr/>
              <p:nvPr/>
            </p:nvSpPr>
            <p:spPr>
              <a:xfrm>
                <a:off x="8574576" y="2339001"/>
                <a:ext cx="711200" cy="71120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6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79F6B74D-2CB3-4675-8FB0-EDAFBEFD1B1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480056" y="4383904"/>
            <a:ext cx="460271" cy="425922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8DB86623-23B0-4285-BFCE-7DC3B461901B}"/>
              </a:ext>
            </a:extLst>
          </p:cNvPr>
          <p:cNvSpPr txBox="1"/>
          <p:nvPr/>
        </p:nvSpPr>
        <p:spPr>
          <a:xfrm>
            <a:off x="5361004" y="3236488"/>
            <a:ext cx="55976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Oct 28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B3A555C1-635F-42B5-9BAD-67327F3DF645}"/>
              </a:ext>
            </a:extLst>
          </p:cNvPr>
          <p:cNvGrpSpPr/>
          <p:nvPr/>
        </p:nvGrpSpPr>
        <p:grpSpPr>
          <a:xfrm rot="10800000">
            <a:off x="8525296" y="3473303"/>
            <a:ext cx="711200" cy="1477480"/>
            <a:chOff x="4011329" y="2102896"/>
            <a:chExt cx="711200" cy="1477480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5C8FF419-57D7-4580-9723-3AB0A214C055}"/>
                </a:ext>
              </a:extLst>
            </p:cNvPr>
            <p:cNvSpPr/>
            <p:nvPr/>
          </p:nvSpPr>
          <p:spPr>
            <a:xfrm>
              <a:off x="4336053" y="3462116"/>
              <a:ext cx="118260" cy="11826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0E35AC84-B388-4216-9652-1A03DF74CC3E}"/>
                </a:ext>
              </a:extLst>
            </p:cNvPr>
            <p:cNvGrpSpPr/>
            <p:nvPr/>
          </p:nvGrpSpPr>
          <p:grpSpPr>
            <a:xfrm>
              <a:off x="4011329" y="2102896"/>
              <a:ext cx="711200" cy="1348211"/>
              <a:chOff x="4480246" y="2327234"/>
              <a:chExt cx="711200" cy="1348211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051A1039-7524-4240-9CD6-D60825034DC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863990" y="2904716"/>
                <a:ext cx="110" cy="770729"/>
              </a:xfrm>
              <a:prstGeom prst="line">
                <a:avLst/>
              </a:prstGeom>
              <a:ln w="28575">
                <a:solidFill>
                  <a:schemeClr val="accent6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D476BC46-4470-4723-AD85-E0E2049D9AF7}"/>
                  </a:ext>
                </a:extLst>
              </p:cNvPr>
              <p:cNvSpPr/>
              <p:nvPr/>
            </p:nvSpPr>
            <p:spPr>
              <a:xfrm>
                <a:off x="4480246" y="2327234"/>
                <a:ext cx="711200" cy="71120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6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72" name="Picture 71">
                <a:extLst>
                  <a:ext uri="{FF2B5EF4-FFF2-40B4-BE49-F238E27FC236}">
                    <a16:creationId xmlns:a16="http://schemas.microsoft.com/office/drawing/2014/main" id="{8A5B13B8-4956-4538-9D5D-263F57EB42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575914" y="2483819"/>
                <a:ext cx="454020" cy="395646"/>
              </a:xfrm>
              <a:prstGeom prst="rect">
                <a:avLst/>
              </a:prstGeom>
            </p:spPr>
          </p:pic>
        </p:grpSp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8FE91822-3922-4A88-A262-46FD29CCFB35}"/>
              </a:ext>
            </a:extLst>
          </p:cNvPr>
          <p:cNvSpPr txBox="1"/>
          <p:nvPr/>
        </p:nvSpPr>
        <p:spPr>
          <a:xfrm>
            <a:off x="8499565" y="5004694"/>
            <a:ext cx="111670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accent6"/>
                </a:solidFill>
              </a:rPr>
              <a:t>Use Case 3:</a:t>
            </a:r>
            <a:r>
              <a:rPr lang="en-US" sz="1200" b="1" dirty="0"/>
              <a:t> </a:t>
            </a:r>
          </a:p>
          <a:p>
            <a:r>
              <a:rPr lang="en-US" sz="1200" b="1" dirty="0"/>
              <a:t>Consumer Goods Industry</a:t>
            </a:r>
          </a:p>
          <a:p>
            <a:endParaRPr lang="en-US" sz="1200" b="1" dirty="0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55127B2-A9A5-4B2D-998D-918698DCFB16}"/>
              </a:ext>
            </a:extLst>
          </p:cNvPr>
          <p:cNvSpPr txBox="1"/>
          <p:nvPr/>
        </p:nvSpPr>
        <p:spPr>
          <a:xfrm>
            <a:off x="3697698" y="1213044"/>
            <a:ext cx="11167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accent6"/>
                </a:solidFill>
              </a:rPr>
              <a:t>Use Case 1:</a:t>
            </a:r>
            <a:r>
              <a:rPr lang="en-US" sz="1200" b="1" dirty="0"/>
              <a:t> Consumer Goods Industry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78B62D93-36C9-4469-8F99-A9352075586E}"/>
              </a:ext>
            </a:extLst>
          </p:cNvPr>
          <p:cNvSpPr txBox="1"/>
          <p:nvPr/>
        </p:nvSpPr>
        <p:spPr>
          <a:xfrm>
            <a:off x="5206778" y="4862965"/>
            <a:ext cx="111670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accent6"/>
                </a:solidFill>
              </a:rPr>
              <a:t>Use Case 2:</a:t>
            </a:r>
            <a:r>
              <a:rPr lang="en-US" sz="1200" b="1" dirty="0"/>
              <a:t> Travel &amp; Hospitality Industry</a:t>
            </a:r>
          </a:p>
          <a:p>
            <a:endParaRPr lang="en-US" sz="1200" b="1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E3F75A8E-04BC-47F3-A7AC-8FACCB25C588}"/>
              </a:ext>
            </a:extLst>
          </p:cNvPr>
          <p:cNvSpPr txBox="1"/>
          <p:nvPr/>
        </p:nvSpPr>
        <p:spPr>
          <a:xfrm>
            <a:off x="9931552" y="1649112"/>
            <a:ext cx="11167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accent6"/>
                </a:solidFill>
              </a:rPr>
              <a:t>Use Case 4:</a:t>
            </a:r>
            <a:r>
              <a:rPr lang="en-US" sz="1200" b="1" dirty="0"/>
              <a:t> Financial Services</a:t>
            </a:r>
          </a:p>
          <a:p>
            <a:endParaRPr lang="en-US" sz="1200" b="1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5DDCA6A-D6AA-4E7E-B4D5-4246BB8B4D4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66500" y="2419228"/>
            <a:ext cx="445876" cy="435292"/>
          </a:xfrm>
          <a:prstGeom prst="rect">
            <a:avLst/>
          </a:prstGeom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6A4F4058-B465-4C5B-BFC8-DF9F1257D4A0}"/>
              </a:ext>
            </a:extLst>
          </p:cNvPr>
          <p:cNvSpPr txBox="1"/>
          <p:nvPr/>
        </p:nvSpPr>
        <p:spPr>
          <a:xfrm>
            <a:off x="11363298" y="5004694"/>
            <a:ext cx="11167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accent6"/>
                </a:solidFill>
              </a:rPr>
              <a:t>Evergage Industry Playbook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9417D16A-5E5C-4C29-BC77-EF0DDCAD3F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7678" y="6426731"/>
            <a:ext cx="3133725" cy="238125"/>
          </a:xfrm>
          <a:prstGeom prst="rect">
            <a:avLst/>
          </a:prstGeom>
        </p:spPr>
      </p:pic>
      <p:grpSp>
        <p:nvGrpSpPr>
          <p:cNvPr id="62" name="Group 61">
            <a:extLst>
              <a:ext uri="{FF2B5EF4-FFF2-40B4-BE49-F238E27FC236}">
                <a16:creationId xmlns:a16="http://schemas.microsoft.com/office/drawing/2014/main" id="{3B3612F9-5543-4B96-9E40-768062FC9C6D}"/>
              </a:ext>
            </a:extLst>
          </p:cNvPr>
          <p:cNvGrpSpPr/>
          <p:nvPr/>
        </p:nvGrpSpPr>
        <p:grpSpPr>
          <a:xfrm rot="10800000">
            <a:off x="6835084" y="2288159"/>
            <a:ext cx="711200" cy="1265519"/>
            <a:chOff x="2460913" y="3478658"/>
            <a:chExt cx="711200" cy="1265519"/>
          </a:xfrm>
        </p:grpSpPr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29481F2C-3898-46EE-8E74-D33F3E3F3469}"/>
                </a:ext>
              </a:extLst>
            </p:cNvPr>
            <p:cNvCxnSpPr/>
            <p:nvPr/>
          </p:nvCxnSpPr>
          <p:spPr>
            <a:xfrm>
              <a:off x="2816513" y="3562936"/>
              <a:ext cx="0" cy="752361"/>
            </a:xfrm>
            <a:prstGeom prst="line">
              <a:avLst/>
            </a:prstGeom>
            <a:ln w="28575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6E22B7A1-56C9-4789-9B4C-E8E863B9D6E3}"/>
                </a:ext>
              </a:extLst>
            </p:cNvPr>
            <p:cNvSpPr/>
            <p:nvPr/>
          </p:nvSpPr>
          <p:spPr>
            <a:xfrm>
              <a:off x="2460913" y="4032977"/>
              <a:ext cx="711200" cy="7112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5226254D-EA18-47EE-AA55-2E2C63A73257}"/>
                </a:ext>
              </a:extLst>
            </p:cNvPr>
            <p:cNvSpPr/>
            <p:nvPr/>
          </p:nvSpPr>
          <p:spPr>
            <a:xfrm>
              <a:off x="2757383" y="3478658"/>
              <a:ext cx="118260" cy="11826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0A2D681D-AB6B-4190-BE4C-8E40A14BBF69}"/>
              </a:ext>
            </a:extLst>
          </p:cNvPr>
          <p:cNvSpPr txBox="1"/>
          <p:nvPr/>
        </p:nvSpPr>
        <p:spPr>
          <a:xfrm>
            <a:off x="6691621" y="1671447"/>
            <a:ext cx="11167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Effort Estimation Guidelin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F27612-4F83-444F-A40C-0A251591F20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10156" y="2389254"/>
            <a:ext cx="561055" cy="536394"/>
          </a:xfrm>
          <a:prstGeom prst="rect">
            <a:avLst/>
          </a:prstGeom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D7ABC002-F37F-4C06-9947-F6BB3DB11CC7}"/>
              </a:ext>
            </a:extLst>
          </p:cNvPr>
          <p:cNvSpPr txBox="1"/>
          <p:nvPr/>
        </p:nvSpPr>
        <p:spPr>
          <a:xfrm>
            <a:off x="6901626" y="3531992"/>
            <a:ext cx="59022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Nov 25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CF664483-4F21-4A3B-91FC-47E5F4905203}"/>
              </a:ext>
            </a:extLst>
          </p:cNvPr>
          <p:cNvSpPr txBox="1"/>
          <p:nvPr/>
        </p:nvSpPr>
        <p:spPr>
          <a:xfrm>
            <a:off x="10037273" y="3523211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Jan 13</a:t>
            </a:r>
          </a:p>
        </p:txBody>
      </p:sp>
    </p:spTree>
    <p:extLst>
      <p:ext uri="{BB962C8B-B14F-4D97-AF65-F5344CB8AC3E}">
        <p14:creationId xmlns:p14="http://schemas.microsoft.com/office/powerpoint/2010/main" val="32631033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FFD4A04-7E6E-4A3B-A1B0-ACF9B69FC2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7475" y="3013352"/>
            <a:ext cx="1006692" cy="974458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A904E983-8EA5-4DC4-BB10-8292869B4FA8}"/>
              </a:ext>
            </a:extLst>
          </p:cNvPr>
          <p:cNvGrpSpPr/>
          <p:nvPr/>
        </p:nvGrpSpPr>
        <p:grpSpPr>
          <a:xfrm>
            <a:off x="1663927" y="1434730"/>
            <a:ext cx="9270774" cy="4265051"/>
            <a:chOff x="1778227" y="912993"/>
            <a:chExt cx="9270774" cy="4265051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EBF4D17B-92AC-447E-AEDA-7DA55041334C}"/>
                </a:ext>
              </a:extLst>
            </p:cNvPr>
            <p:cNvSpPr/>
            <p:nvPr/>
          </p:nvSpPr>
          <p:spPr>
            <a:xfrm>
              <a:off x="1778227" y="2038673"/>
              <a:ext cx="1742030" cy="1675860"/>
            </a:xfrm>
            <a:prstGeom prst="ellipse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F864227-B762-4158-A000-DE05B511E765}"/>
                </a:ext>
              </a:extLst>
            </p:cNvPr>
            <p:cNvGrpSpPr/>
            <p:nvPr/>
          </p:nvGrpSpPr>
          <p:grpSpPr>
            <a:xfrm>
              <a:off x="6865661" y="2185137"/>
              <a:ext cx="4183340" cy="881913"/>
              <a:chOff x="7304847" y="2587237"/>
              <a:chExt cx="4998060" cy="881913"/>
            </a:xfrm>
          </p:grpSpPr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8109F718-E685-423B-92E4-AD66BBD3CF7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983321" y="2587237"/>
                <a:ext cx="4319586" cy="881913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0" indent="0" algn="l" defTabSz="1219170" rtl="0" eaLnBrk="1" latinLnBrk="0" hangingPunct="1">
                  <a:spcBef>
                    <a:spcPts val="0"/>
                  </a:spcBef>
                  <a:spcAft>
                    <a:spcPts val="1333"/>
                  </a:spcAft>
                  <a:buSzPct val="100000"/>
                  <a:buFont typeface="Arial" panose="020B0604020202020204" pitchFamily="34" charset="0"/>
                  <a:buNone/>
                  <a:defRPr sz="1200" b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1219170" rtl="0" eaLnBrk="1" latinLnBrk="0" hangingPunct="1">
                  <a:spcBef>
                    <a:spcPts val="0"/>
                  </a:spcBef>
                  <a:spcAft>
                    <a:spcPts val="1333"/>
                  </a:spcAft>
                  <a:buClrTx/>
                  <a:buSzPct val="100000"/>
                  <a:buFont typeface="Arial"/>
                  <a:buNone/>
                  <a:defRPr lang="en-US" sz="1200" b="1" kern="1200" dirty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35194" indent="-235194" algn="l" defTabSz="1219170" rtl="0" eaLnBrk="1" latinLnBrk="0" hangingPunct="1">
                  <a:spcBef>
                    <a:spcPts val="0"/>
                  </a:spcBef>
                  <a:spcAft>
                    <a:spcPts val="1333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200" kern="1200" dirty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475188" indent="-235194" algn="l" defTabSz="1219170" rtl="0" eaLnBrk="1" latinLnBrk="0" hangingPunct="1">
                  <a:spcBef>
                    <a:spcPts val="0"/>
                  </a:spcBef>
                  <a:spcAft>
                    <a:spcPts val="1333"/>
                  </a:spcAft>
                  <a:buClrTx/>
                  <a:buSzPct val="100000"/>
                  <a:buFont typeface="Verdana" panose="020B0604030504040204" pitchFamily="34" charset="0"/>
                  <a:buChar char="−"/>
                  <a:defRPr lang="en-US" sz="1200" kern="1200" baseline="0" dirty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10382" indent="-235194" algn="l" defTabSz="1064657" rtl="0" eaLnBrk="1" latinLnBrk="0" hangingPunct="1">
                  <a:spcBef>
                    <a:spcPts val="0"/>
                  </a:spcBef>
                  <a:spcAft>
                    <a:spcPts val="1333"/>
                  </a:spcAft>
                  <a:buClrTx/>
                  <a:buSzPct val="100000"/>
                  <a:buFont typeface="Verdana" panose="020B0604030504040204" pitchFamily="34" charset="0"/>
                  <a:buChar char="−"/>
                  <a:tabLst/>
                  <a:defRPr lang="en-US" sz="1200" kern="1200" baseline="0" dirty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710382" indent="-235194" algn="l" defTabSz="1219170" rtl="0" eaLnBrk="1" latinLnBrk="0" hangingPunct="1">
                  <a:spcBef>
                    <a:spcPts val="0"/>
                  </a:spcBef>
                  <a:spcAft>
                    <a:spcPts val="1333"/>
                  </a:spcAft>
                  <a:buFont typeface="Verdana" panose="020B0604030504040204" pitchFamily="34" charset="0"/>
                  <a:buChar char="−"/>
                  <a:defRPr sz="16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710382" indent="-235194" algn="l" defTabSz="1219170" rtl="0" eaLnBrk="1" latinLnBrk="0" hangingPunct="1">
                  <a:spcBef>
                    <a:spcPts val="0"/>
                  </a:spcBef>
                  <a:spcAft>
                    <a:spcPts val="1333"/>
                  </a:spcAft>
                  <a:buFont typeface="Verdana" panose="020B0604030504040204" pitchFamily="34" charset="0"/>
                  <a:buChar char="−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710382" indent="-235194" algn="l" defTabSz="1219170" rtl="0" eaLnBrk="1" latinLnBrk="0" hangingPunct="1">
                  <a:spcBef>
                    <a:spcPts val="0"/>
                  </a:spcBef>
                  <a:spcAft>
                    <a:spcPts val="1333"/>
                  </a:spcAft>
                  <a:buFont typeface="Verdana" panose="020B0604030504040204" pitchFamily="34" charset="0"/>
                  <a:buChar char="−"/>
                  <a:defRPr sz="16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10382" indent="-235194" algn="l" defTabSz="1219170" rtl="0" eaLnBrk="1" latinLnBrk="0" hangingPunct="1">
                  <a:spcBef>
                    <a:spcPts val="0"/>
                  </a:spcBef>
                  <a:spcAft>
                    <a:spcPts val="1333"/>
                  </a:spcAft>
                  <a:buFont typeface="Verdana" panose="020B0604030504040204" pitchFamily="34" charset="0"/>
                  <a:buChar char="−"/>
                  <a:defRPr sz="16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r>
                  <a:rPr lang="en-US" sz="1800" dirty="0"/>
                  <a:t>Emphasis on core &amp; focal capabilities.</a:t>
                </a:r>
              </a:p>
              <a:p>
                <a:pPr lvl="0">
                  <a:defRPr/>
                </a:pPr>
                <a:endParaRPr lang="en-US" sz="1800" dirty="0">
                  <a:solidFill>
                    <a:srgbClr val="464749"/>
                  </a:solidFill>
                </a:endParaRPr>
              </a:p>
            </p:txBody>
          </p:sp>
          <p:sp>
            <p:nvSpPr>
              <p:cNvPr id="7" name="Freeform 538">
                <a:extLst>
                  <a:ext uri="{FF2B5EF4-FFF2-40B4-BE49-F238E27FC236}">
                    <a16:creationId xmlns:a16="http://schemas.microsoft.com/office/drawing/2014/main" id="{BFDB3FD0-2403-4F73-B7AD-B53F1FC40C3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7304847" y="2662129"/>
                <a:ext cx="592562" cy="397252"/>
              </a:xfrm>
              <a:custGeom>
                <a:avLst/>
                <a:gdLst>
                  <a:gd name="T0" fmla="*/ 226 w 512"/>
                  <a:gd name="T1" fmla="*/ 352 h 512"/>
                  <a:gd name="T2" fmla="*/ 286 w 512"/>
                  <a:gd name="T3" fmla="*/ 352 h 512"/>
                  <a:gd name="T4" fmla="*/ 279 w 512"/>
                  <a:gd name="T5" fmla="*/ 394 h 512"/>
                  <a:gd name="T6" fmla="*/ 233 w 512"/>
                  <a:gd name="T7" fmla="*/ 394 h 512"/>
                  <a:gd name="T8" fmla="*/ 226 w 512"/>
                  <a:gd name="T9" fmla="*/ 352 h 512"/>
                  <a:gd name="T10" fmla="*/ 256 w 512"/>
                  <a:gd name="T11" fmla="*/ 117 h 512"/>
                  <a:gd name="T12" fmla="*/ 178 w 512"/>
                  <a:gd name="T13" fmla="*/ 191 h 512"/>
                  <a:gd name="T14" fmla="*/ 194 w 512"/>
                  <a:gd name="T15" fmla="*/ 242 h 512"/>
                  <a:gd name="T16" fmla="*/ 224 w 512"/>
                  <a:gd name="T17" fmla="*/ 309 h 512"/>
                  <a:gd name="T18" fmla="*/ 224 w 512"/>
                  <a:gd name="T19" fmla="*/ 330 h 512"/>
                  <a:gd name="T20" fmla="*/ 245 w 512"/>
                  <a:gd name="T21" fmla="*/ 330 h 512"/>
                  <a:gd name="T22" fmla="*/ 245 w 512"/>
                  <a:gd name="T23" fmla="*/ 249 h 512"/>
                  <a:gd name="T24" fmla="*/ 227 w 512"/>
                  <a:gd name="T25" fmla="*/ 231 h 512"/>
                  <a:gd name="T26" fmla="*/ 227 w 512"/>
                  <a:gd name="T27" fmla="*/ 216 h 512"/>
                  <a:gd name="T28" fmla="*/ 242 w 512"/>
                  <a:gd name="T29" fmla="*/ 216 h 512"/>
                  <a:gd name="T30" fmla="*/ 256 w 512"/>
                  <a:gd name="T31" fmla="*/ 230 h 512"/>
                  <a:gd name="T32" fmla="*/ 269 w 512"/>
                  <a:gd name="T33" fmla="*/ 216 h 512"/>
                  <a:gd name="T34" fmla="*/ 285 w 512"/>
                  <a:gd name="T35" fmla="*/ 216 h 512"/>
                  <a:gd name="T36" fmla="*/ 285 w 512"/>
                  <a:gd name="T37" fmla="*/ 231 h 512"/>
                  <a:gd name="T38" fmla="*/ 266 w 512"/>
                  <a:gd name="T39" fmla="*/ 249 h 512"/>
                  <a:gd name="T40" fmla="*/ 266 w 512"/>
                  <a:gd name="T41" fmla="*/ 330 h 512"/>
                  <a:gd name="T42" fmla="*/ 288 w 512"/>
                  <a:gd name="T43" fmla="*/ 330 h 512"/>
                  <a:gd name="T44" fmla="*/ 288 w 512"/>
                  <a:gd name="T45" fmla="*/ 309 h 512"/>
                  <a:gd name="T46" fmla="*/ 318 w 512"/>
                  <a:gd name="T47" fmla="*/ 243 h 512"/>
                  <a:gd name="T48" fmla="*/ 334 w 512"/>
                  <a:gd name="T49" fmla="*/ 191 h 512"/>
                  <a:gd name="T50" fmla="*/ 256 w 512"/>
                  <a:gd name="T51" fmla="*/ 117 h 512"/>
                  <a:gd name="T52" fmla="*/ 512 w 512"/>
                  <a:gd name="T53" fmla="*/ 256 h 512"/>
                  <a:gd name="T54" fmla="*/ 256 w 512"/>
                  <a:gd name="T55" fmla="*/ 512 h 512"/>
                  <a:gd name="T56" fmla="*/ 0 w 512"/>
                  <a:gd name="T57" fmla="*/ 256 h 512"/>
                  <a:gd name="T58" fmla="*/ 256 w 512"/>
                  <a:gd name="T59" fmla="*/ 0 h 512"/>
                  <a:gd name="T60" fmla="*/ 512 w 512"/>
                  <a:gd name="T61" fmla="*/ 256 h 512"/>
                  <a:gd name="T62" fmla="*/ 356 w 512"/>
                  <a:gd name="T63" fmla="*/ 191 h 512"/>
                  <a:gd name="T64" fmla="*/ 256 w 512"/>
                  <a:gd name="T65" fmla="*/ 96 h 512"/>
                  <a:gd name="T66" fmla="*/ 256 w 512"/>
                  <a:gd name="T67" fmla="*/ 96 h 512"/>
                  <a:gd name="T68" fmla="*/ 256 w 512"/>
                  <a:gd name="T69" fmla="*/ 96 h 512"/>
                  <a:gd name="T70" fmla="*/ 256 w 512"/>
                  <a:gd name="T71" fmla="*/ 96 h 512"/>
                  <a:gd name="T72" fmla="*/ 255 w 512"/>
                  <a:gd name="T73" fmla="*/ 96 h 512"/>
                  <a:gd name="T74" fmla="*/ 157 w 512"/>
                  <a:gd name="T75" fmla="*/ 191 h 512"/>
                  <a:gd name="T76" fmla="*/ 176 w 512"/>
                  <a:gd name="T77" fmla="*/ 254 h 512"/>
                  <a:gd name="T78" fmla="*/ 202 w 512"/>
                  <a:gd name="T79" fmla="*/ 309 h 512"/>
                  <a:gd name="T80" fmla="*/ 202 w 512"/>
                  <a:gd name="T81" fmla="*/ 341 h 512"/>
                  <a:gd name="T82" fmla="*/ 203 w 512"/>
                  <a:gd name="T83" fmla="*/ 342 h 512"/>
                  <a:gd name="T84" fmla="*/ 202 w 512"/>
                  <a:gd name="T85" fmla="*/ 343 h 512"/>
                  <a:gd name="T86" fmla="*/ 213 w 512"/>
                  <a:gd name="T87" fmla="*/ 407 h 512"/>
                  <a:gd name="T88" fmla="*/ 224 w 512"/>
                  <a:gd name="T89" fmla="*/ 416 h 512"/>
                  <a:gd name="T90" fmla="*/ 288 w 512"/>
                  <a:gd name="T91" fmla="*/ 416 h 512"/>
                  <a:gd name="T92" fmla="*/ 298 w 512"/>
                  <a:gd name="T93" fmla="*/ 407 h 512"/>
                  <a:gd name="T94" fmla="*/ 309 w 512"/>
                  <a:gd name="T95" fmla="*/ 343 h 512"/>
                  <a:gd name="T96" fmla="*/ 309 w 512"/>
                  <a:gd name="T97" fmla="*/ 342 h 512"/>
                  <a:gd name="T98" fmla="*/ 309 w 512"/>
                  <a:gd name="T99" fmla="*/ 341 h 512"/>
                  <a:gd name="T100" fmla="*/ 309 w 512"/>
                  <a:gd name="T101" fmla="*/ 309 h 512"/>
                  <a:gd name="T102" fmla="*/ 336 w 512"/>
                  <a:gd name="T103" fmla="*/ 254 h 512"/>
                  <a:gd name="T104" fmla="*/ 356 w 512"/>
                  <a:gd name="T105" fmla="*/ 191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12" h="512">
                    <a:moveTo>
                      <a:pt x="226" y="352"/>
                    </a:moveTo>
                    <a:cubicBezTo>
                      <a:pt x="286" y="352"/>
                      <a:pt x="286" y="352"/>
                      <a:pt x="286" y="352"/>
                    </a:cubicBezTo>
                    <a:cubicBezTo>
                      <a:pt x="279" y="394"/>
                      <a:pt x="279" y="394"/>
                      <a:pt x="279" y="394"/>
                    </a:cubicBezTo>
                    <a:cubicBezTo>
                      <a:pt x="233" y="394"/>
                      <a:pt x="233" y="394"/>
                      <a:pt x="233" y="394"/>
                    </a:cubicBezTo>
                    <a:lnTo>
                      <a:pt x="226" y="352"/>
                    </a:lnTo>
                    <a:close/>
                    <a:moveTo>
                      <a:pt x="256" y="117"/>
                    </a:moveTo>
                    <a:cubicBezTo>
                      <a:pt x="214" y="117"/>
                      <a:pt x="178" y="151"/>
                      <a:pt x="178" y="191"/>
                    </a:cubicBezTo>
                    <a:cubicBezTo>
                      <a:pt x="178" y="219"/>
                      <a:pt x="194" y="242"/>
                      <a:pt x="194" y="242"/>
                    </a:cubicBezTo>
                    <a:cubicBezTo>
                      <a:pt x="201" y="254"/>
                      <a:pt x="224" y="292"/>
                      <a:pt x="224" y="309"/>
                    </a:cubicBezTo>
                    <a:cubicBezTo>
                      <a:pt x="224" y="330"/>
                      <a:pt x="224" y="330"/>
                      <a:pt x="224" y="330"/>
                    </a:cubicBezTo>
                    <a:cubicBezTo>
                      <a:pt x="245" y="330"/>
                      <a:pt x="245" y="330"/>
                      <a:pt x="245" y="330"/>
                    </a:cubicBezTo>
                    <a:cubicBezTo>
                      <a:pt x="245" y="249"/>
                      <a:pt x="245" y="249"/>
                      <a:pt x="245" y="249"/>
                    </a:cubicBezTo>
                    <a:cubicBezTo>
                      <a:pt x="227" y="231"/>
                      <a:pt x="227" y="231"/>
                      <a:pt x="227" y="231"/>
                    </a:cubicBezTo>
                    <a:cubicBezTo>
                      <a:pt x="223" y="227"/>
                      <a:pt x="223" y="220"/>
                      <a:pt x="227" y="216"/>
                    </a:cubicBezTo>
                    <a:cubicBezTo>
                      <a:pt x="231" y="212"/>
                      <a:pt x="238" y="212"/>
                      <a:pt x="242" y="216"/>
                    </a:cubicBezTo>
                    <a:cubicBezTo>
                      <a:pt x="256" y="230"/>
                      <a:pt x="256" y="230"/>
                      <a:pt x="256" y="230"/>
                    </a:cubicBezTo>
                    <a:cubicBezTo>
                      <a:pt x="269" y="216"/>
                      <a:pt x="269" y="216"/>
                      <a:pt x="269" y="216"/>
                    </a:cubicBezTo>
                    <a:cubicBezTo>
                      <a:pt x="274" y="212"/>
                      <a:pt x="280" y="212"/>
                      <a:pt x="285" y="216"/>
                    </a:cubicBezTo>
                    <a:cubicBezTo>
                      <a:pt x="289" y="220"/>
                      <a:pt x="289" y="227"/>
                      <a:pt x="285" y="231"/>
                    </a:cubicBezTo>
                    <a:cubicBezTo>
                      <a:pt x="266" y="249"/>
                      <a:pt x="266" y="249"/>
                      <a:pt x="266" y="249"/>
                    </a:cubicBezTo>
                    <a:cubicBezTo>
                      <a:pt x="266" y="330"/>
                      <a:pt x="266" y="330"/>
                      <a:pt x="266" y="330"/>
                    </a:cubicBezTo>
                    <a:cubicBezTo>
                      <a:pt x="288" y="330"/>
                      <a:pt x="288" y="330"/>
                      <a:pt x="288" y="330"/>
                    </a:cubicBezTo>
                    <a:cubicBezTo>
                      <a:pt x="288" y="309"/>
                      <a:pt x="288" y="309"/>
                      <a:pt x="288" y="309"/>
                    </a:cubicBezTo>
                    <a:cubicBezTo>
                      <a:pt x="288" y="292"/>
                      <a:pt x="311" y="254"/>
                      <a:pt x="318" y="243"/>
                    </a:cubicBezTo>
                    <a:cubicBezTo>
                      <a:pt x="318" y="242"/>
                      <a:pt x="334" y="218"/>
                      <a:pt x="334" y="191"/>
                    </a:cubicBezTo>
                    <a:cubicBezTo>
                      <a:pt x="334" y="151"/>
                      <a:pt x="298" y="117"/>
                      <a:pt x="256" y="117"/>
                    </a:cubicBezTo>
                    <a:close/>
                    <a:moveTo>
                      <a:pt x="512" y="256"/>
                    </a:moveTo>
                    <a:cubicBezTo>
                      <a:pt x="512" y="397"/>
                      <a:pt x="397" y="512"/>
                      <a:pt x="256" y="512"/>
                    </a:cubicBezTo>
                    <a:cubicBezTo>
                      <a:pt x="114" y="512"/>
                      <a:pt x="0" y="397"/>
                      <a:pt x="0" y="256"/>
                    </a:cubicBezTo>
                    <a:cubicBezTo>
                      <a:pt x="0" y="114"/>
                      <a:pt x="114" y="0"/>
                      <a:pt x="256" y="0"/>
                    </a:cubicBezTo>
                    <a:cubicBezTo>
                      <a:pt x="397" y="0"/>
                      <a:pt x="512" y="114"/>
                      <a:pt x="512" y="256"/>
                    </a:cubicBezTo>
                    <a:close/>
                    <a:moveTo>
                      <a:pt x="356" y="191"/>
                    </a:moveTo>
                    <a:cubicBezTo>
                      <a:pt x="356" y="140"/>
                      <a:pt x="310" y="96"/>
                      <a:pt x="256" y="96"/>
                    </a:cubicBezTo>
                    <a:cubicBezTo>
                      <a:pt x="256" y="96"/>
                      <a:pt x="256" y="96"/>
                      <a:pt x="256" y="96"/>
                    </a:cubicBezTo>
                    <a:cubicBezTo>
                      <a:pt x="256" y="96"/>
                      <a:pt x="256" y="96"/>
                      <a:pt x="256" y="96"/>
                    </a:cubicBezTo>
                    <a:cubicBezTo>
                      <a:pt x="256" y="96"/>
                      <a:pt x="256" y="96"/>
                      <a:pt x="256" y="96"/>
                    </a:cubicBezTo>
                    <a:cubicBezTo>
                      <a:pt x="256" y="96"/>
                      <a:pt x="256" y="96"/>
                      <a:pt x="255" y="96"/>
                    </a:cubicBezTo>
                    <a:cubicBezTo>
                      <a:pt x="202" y="96"/>
                      <a:pt x="157" y="140"/>
                      <a:pt x="157" y="191"/>
                    </a:cubicBezTo>
                    <a:cubicBezTo>
                      <a:pt x="157" y="225"/>
                      <a:pt x="175" y="253"/>
                      <a:pt x="176" y="254"/>
                    </a:cubicBezTo>
                    <a:cubicBezTo>
                      <a:pt x="189" y="275"/>
                      <a:pt x="202" y="302"/>
                      <a:pt x="202" y="309"/>
                    </a:cubicBezTo>
                    <a:cubicBezTo>
                      <a:pt x="202" y="341"/>
                      <a:pt x="202" y="341"/>
                      <a:pt x="202" y="341"/>
                    </a:cubicBezTo>
                    <a:cubicBezTo>
                      <a:pt x="202" y="341"/>
                      <a:pt x="202" y="342"/>
                      <a:pt x="203" y="342"/>
                    </a:cubicBezTo>
                    <a:cubicBezTo>
                      <a:pt x="203" y="342"/>
                      <a:pt x="202" y="342"/>
                      <a:pt x="202" y="343"/>
                    </a:cubicBezTo>
                    <a:cubicBezTo>
                      <a:pt x="213" y="407"/>
                      <a:pt x="213" y="407"/>
                      <a:pt x="213" y="407"/>
                    </a:cubicBezTo>
                    <a:cubicBezTo>
                      <a:pt x="214" y="412"/>
                      <a:pt x="218" y="416"/>
                      <a:pt x="224" y="416"/>
                    </a:cubicBezTo>
                    <a:cubicBezTo>
                      <a:pt x="288" y="416"/>
                      <a:pt x="288" y="416"/>
                      <a:pt x="288" y="416"/>
                    </a:cubicBezTo>
                    <a:cubicBezTo>
                      <a:pt x="293" y="416"/>
                      <a:pt x="297" y="412"/>
                      <a:pt x="298" y="407"/>
                    </a:cubicBezTo>
                    <a:cubicBezTo>
                      <a:pt x="309" y="343"/>
                      <a:pt x="309" y="343"/>
                      <a:pt x="309" y="343"/>
                    </a:cubicBezTo>
                    <a:cubicBezTo>
                      <a:pt x="309" y="342"/>
                      <a:pt x="309" y="342"/>
                      <a:pt x="309" y="342"/>
                    </a:cubicBezTo>
                    <a:cubicBezTo>
                      <a:pt x="309" y="342"/>
                      <a:pt x="309" y="341"/>
                      <a:pt x="309" y="341"/>
                    </a:cubicBezTo>
                    <a:cubicBezTo>
                      <a:pt x="309" y="309"/>
                      <a:pt x="309" y="309"/>
                      <a:pt x="309" y="309"/>
                    </a:cubicBezTo>
                    <a:cubicBezTo>
                      <a:pt x="309" y="302"/>
                      <a:pt x="323" y="275"/>
                      <a:pt x="336" y="254"/>
                    </a:cubicBezTo>
                    <a:cubicBezTo>
                      <a:pt x="337" y="253"/>
                      <a:pt x="356" y="225"/>
                      <a:pt x="356" y="191"/>
                    </a:cubicBezTo>
                    <a:close/>
                  </a:path>
                </a:pathLst>
              </a:custGeom>
              <a:solidFill>
                <a:srgbClr val="86BC2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>
                  <a:defRPr/>
                </a:pPr>
                <a:endParaRPr lang="en-US" sz="2000" kern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DB2C590-528F-4553-AFC2-6DA36EB71867}"/>
                </a:ext>
              </a:extLst>
            </p:cNvPr>
            <p:cNvGrpSpPr/>
            <p:nvPr/>
          </p:nvGrpSpPr>
          <p:grpSpPr>
            <a:xfrm>
              <a:off x="6419167" y="1004150"/>
              <a:ext cx="4629834" cy="633947"/>
              <a:chOff x="7304847" y="1783195"/>
              <a:chExt cx="5758197" cy="633947"/>
            </a:xfrm>
          </p:grpSpPr>
          <p:sp>
            <p:nvSpPr>
              <p:cNvPr id="9" name="TextBox 23">
                <a:extLst>
                  <a:ext uri="{FF2B5EF4-FFF2-40B4-BE49-F238E27FC236}">
                    <a16:creationId xmlns:a16="http://schemas.microsoft.com/office/drawing/2014/main" id="{D21F11B8-84A4-45D9-8810-E4B084B249C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860161" y="1870105"/>
                <a:ext cx="5202883" cy="547037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0" indent="0" algn="l" defTabSz="1219170" rtl="0" eaLnBrk="1" latinLnBrk="0" hangingPunct="1">
                  <a:spcBef>
                    <a:spcPts val="0"/>
                  </a:spcBef>
                  <a:spcAft>
                    <a:spcPts val="1333"/>
                  </a:spcAft>
                  <a:buSzPct val="100000"/>
                  <a:buFont typeface="Arial" panose="020B0604020202020204" pitchFamily="34" charset="0"/>
                  <a:buNone/>
                  <a:defRPr sz="1200" b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1219170" rtl="0" eaLnBrk="1" latinLnBrk="0" hangingPunct="1">
                  <a:spcBef>
                    <a:spcPts val="0"/>
                  </a:spcBef>
                  <a:spcAft>
                    <a:spcPts val="1333"/>
                  </a:spcAft>
                  <a:buClrTx/>
                  <a:buSzPct val="100000"/>
                  <a:buFont typeface="Arial"/>
                  <a:buNone/>
                  <a:defRPr lang="en-US" sz="1200" b="1" kern="1200" dirty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35194" indent="-235194" algn="l" defTabSz="1219170" rtl="0" eaLnBrk="1" latinLnBrk="0" hangingPunct="1">
                  <a:spcBef>
                    <a:spcPts val="0"/>
                  </a:spcBef>
                  <a:spcAft>
                    <a:spcPts val="1333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en-US" sz="1200" kern="1200" dirty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475188" indent="-235194" algn="l" defTabSz="1219170" rtl="0" eaLnBrk="1" latinLnBrk="0" hangingPunct="1">
                  <a:spcBef>
                    <a:spcPts val="0"/>
                  </a:spcBef>
                  <a:spcAft>
                    <a:spcPts val="1333"/>
                  </a:spcAft>
                  <a:buClrTx/>
                  <a:buSzPct val="100000"/>
                  <a:buFont typeface="Verdana" panose="020B0604030504040204" pitchFamily="34" charset="0"/>
                  <a:buChar char="−"/>
                  <a:defRPr lang="en-US" sz="1200" kern="1200" baseline="0" dirty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10382" indent="-235194" algn="l" defTabSz="1064657" rtl="0" eaLnBrk="1" latinLnBrk="0" hangingPunct="1">
                  <a:spcBef>
                    <a:spcPts val="0"/>
                  </a:spcBef>
                  <a:spcAft>
                    <a:spcPts val="1333"/>
                  </a:spcAft>
                  <a:buClrTx/>
                  <a:buSzPct val="100000"/>
                  <a:buFont typeface="Verdana" panose="020B0604030504040204" pitchFamily="34" charset="0"/>
                  <a:buChar char="−"/>
                  <a:tabLst/>
                  <a:defRPr lang="en-US" sz="1200" kern="1200" baseline="0" dirty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710382" indent="-235194" algn="l" defTabSz="1219170" rtl="0" eaLnBrk="1" latinLnBrk="0" hangingPunct="1">
                  <a:spcBef>
                    <a:spcPts val="0"/>
                  </a:spcBef>
                  <a:spcAft>
                    <a:spcPts val="1333"/>
                  </a:spcAft>
                  <a:buFont typeface="Verdana" panose="020B0604030504040204" pitchFamily="34" charset="0"/>
                  <a:buChar char="−"/>
                  <a:defRPr sz="16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710382" indent="-235194" algn="l" defTabSz="1219170" rtl="0" eaLnBrk="1" latinLnBrk="0" hangingPunct="1">
                  <a:spcBef>
                    <a:spcPts val="0"/>
                  </a:spcBef>
                  <a:spcAft>
                    <a:spcPts val="1333"/>
                  </a:spcAft>
                  <a:buFont typeface="Verdana" panose="020B0604030504040204" pitchFamily="34" charset="0"/>
                  <a:buChar char="−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710382" indent="-235194" algn="l" defTabSz="1219170" rtl="0" eaLnBrk="1" latinLnBrk="0" hangingPunct="1">
                  <a:spcBef>
                    <a:spcPts val="0"/>
                  </a:spcBef>
                  <a:spcAft>
                    <a:spcPts val="1333"/>
                  </a:spcAft>
                  <a:buFont typeface="Verdana" panose="020B0604030504040204" pitchFamily="34" charset="0"/>
                  <a:buChar char="−"/>
                  <a:defRPr sz="16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10382" indent="-235194" algn="l" defTabSz="1219170" rtl="0" eaLnBrk="1" latinLnBrk="0" hangingPunct="1">
                  <a:spcBef>
                    <a:spcPts val="0"/>
                  </a:spcBef>
                  <a:spcAft>
                    <a:spcPts val="1333"/>
                  </a:spcAft>
                  <a:buFont typeface="Verdana" panose="020B0604030504040204" pitchFamily="34" charset="0"/>
                  <a:buChar char="−"/>
                  <a:defRPr sz="16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r>
                  <a:rPr lang="en-US" sz="1800" dirty="0"/>
                  <a:t>Creation of a capability deck for  Evergage.</a:t>
                </a:r>
              </a:p>
              <a:p>
                <a:pPr lvl="0">
                  <a:defRPr/>
                </a:pPr>
                <a:endParaRPr lang="de-DE" sz="1800" dirty="0">
                  <a:solidFill>
                    <a:srgbClr val="464749"/>
                  </a:solidFill>
                </a:endParaRPr>
              </a:p>
            </p:txBody>
          </p:sp>
          <p:sp>
            <p:nvSpPr>
              <p:cNvPr id="10" name="Freeform 54">
                <a:extLst>
                  <a:ext uri="{FF2B5EF4-FFF2-40B4-BE49-F238E27FC236}">
                    <a16:creationId xmlns:a16="http://schemas.microsoft.com/office/drawing/2014/main" id="{64A17121-912F-4A6D-B0BA-2E9A93CA1282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7304847" y="1783195"/>
                <a:ext cx="397252" cy="397252"/>
              </a:xfrm>
              <a:custGeom>
                <a:avLst/>
                <a:gdLst>
                  <a:gd name="T0" fmla="*/ 117 w 512"/>
                  <a:gd name="T1" fmla="*/ 330 h 512"/>
                  <a:gd name="T2" fmla="*/ 160 w 512"/>
                  <a:gd name="T3" fmla="*/ 330 h 512"/>
                  <a:gd name="T4" fmla="*/ 170 w 512"/>
                  <a:gd name="T5" fmla="*/ 341 h 512"/>
                  <a:gd name="T6" fmla="*/ 170 w 512"/>
                  <a:gd name="T7" fmla="*/ 376 h 512"/>
                  <a:gd name="T8" fmla="*/ 205 w 512"/>
                  <a:gd name="T9" fmla="*/ 334 h 512"/>
                  <a:gd name="T10" fmla="*/ 213 w 512"/>
                  <a:gd name="T11" fmla="*/ 330 h 512"/>
                  <a:gd name="T12" fmla="*/ 394 w 512"/>
                  <a:gd name="T13" fmla="*/ 330 h 512"/>
                  <a:gd name="T14" fmla="*/ 394 w 512"/>
                  <a:gd name="T15" fmla="*/ 160 h 512"/>
                  <a:gd name="T16" fmla="*/ 117 w 512"/>
                  <a:gd name="T17" fmla="*/ 160 h 512"/>
                  <a:gd name="T18" fmla="*/ 117 w 512"/>
                  <a:gd name="T19" fmla="*/ 330 h 512"/>
                  <a:gd name="T20" fmla="*/ 298 w 512"/>
                  <a:gd name="T21" fmla="*/ 234 h 512"/>
                  <a:gd name="T22" fmla="*/ 309 w 512"/>
                  <a:gd name="T23" fmla="*/ 245 h 512"/>
                  <a:gd name="T24" fmla="*/ 298 w 512"/>
                  <a:gd name="T25" fmla="*/ 256 h 512"/>
                  <a:gd name="T26" fmla="*/ 288 w 512"/>
                  <a:gd name="T27" fmla="*/ 245 h 512"/>
                  <a:gd name="T28" fmla="*/ 298 w 512"/>
                  <a:gd name="T29" fmla="*/ 234 h 512"/>
                  <a:gd name="T30" fmla="*/ 256 w 512"/>
                  <a:gd name="T31" fmla="*/ 234 h 512"/>
                  <a:gd name="T32" fmla="*/ 266 w 512"/>
                  <a:gd name="T33" fmla="*/ 245 h 512"/>
                  <a:gd name="T34" fmla="*/ 256 w 512"/>
                  <a:gd name="T35" fmla="*/ 256 h 512"/>
                  <a:gd name="T36" fmla="*/ 245 w 512"/>
                  <a:gd name="T37" fmla="*/ 245 h 512"/>
                  <a:gd name="T38" fmla="*/ 256 w 512"/>
                  <a:gd name="T39" fmla="*/ 234 h 512"/>
                  <a:gd name="T40" fmla="*/ 213 w 512"/>
                  <a:gd name="T41" fmla="*/ 234 h 512"/>
                  <a:gd name="T42" fmla="*/ 224 w 512"/>
                  <a:gd name="T43" fmla="*/ 245 h 512"/>
                  <a:gd name="T44" fmla="*/ 213 w 512"/>
                  <a:gd name="T45" fmla="*/ 256 h 512"/>
                  <a:gd name="T46" fmla="*/ 202 w 512"/>
                  <a:gd name="T47" fmla="*/ 245 h 512"/>
                  <a:gd name="T48" fmla="*/ 213 w 512"/>
                  <a:gd name="T49" fmla="*/ 234 h 512"/>
                  <a:gd name="T50" fmla="*/ 256 w 512"/>
                  <a:gd name="T51" fmla="*/ 0 h 512"/>
                  <a:gd name="T52" fmla="*/ 0 w 512"/>
                  <a:gd name="T53" fmla="*/ 256 h 512"/>
                  <a:gd name="T54" fmla="*/ 256 w 512"/>
                  <a:gd name="T55" fmla="*/ 512 h 512"/>
                  <a:gd name="T56" fmla="*/ 512 w 512"/>
                  <a:gd name="T57" fmla="*/ 256 h 512"/>
                  <a:gd name="T58" fmla="*/ 256 w 512"/>
                  <a:gd name="T59" fmla="*/ 0 h 512"/>
                  <a:gd name="T60" fmla="*/ 416 w 512"/>
                  <a:gd name="T61" fmla="*/ 341 h 512"/>
                  <a:gd name="T62" fmla="*/ 405 w 512"/>
                  <a:gd name="T63" fmla="*/ 352 h 512"/>
                  <a:gd name="T64" fmla="*/ 218 w 512"/>
                  <a:gd name="T65" fmla="*/ 352 h 512"/>
                  <a:gd name="T66" fmla="*/ 168 w 512"/>
                  <a:gd name="T67" fmla="*/ 412 h 512"/>
                  <a:gd name="T68" fmla="*/ 160 w 512"/>
                  <a:gd name="T69" fmla="*/ 416 h 512"/>
                  <a:gd name="T70" fmla="*/ 156 w 512"/>
                  <a:gd name="T71" fmla="*/ 415 h 512"/>
                  <a:gd name="T72" fmla="*/ 149 w 512"/>
                  <a:gd name="T73" fmla="*/ 405 h 512"/>
                  <a:gd name="T74" fmla="*/ 149 w 512"/>
                  <a:gd name="T75" fmla="*/ 352 h 512"/>
                  <a:gd name="T76" fmla="*/ 106 w 512"/>
                  <a:gd name="T77" fmla="*/ 352 h 512"/>
                  <a:gd name="T78" fmla="*/ 96 w 512"/>
                  <a:gd name="T79" fmla="*/ 341 h 512"/>
                  <a:gd name="T80" fmla="*/ 96 w 512"/>
                  <a:gd name="T81" fmla="*/ 149 h 512"/>
                  <a:gd name="T82" fmla="*/ 106 w 512"/>
                  <a:gd name="T83" fmla="*/ 138 h 512"/>
                  <a:gd name="T84" fmla="*/ 405 w 512"/>
                  <a:gd name="T85" fmla="*/ 138 h 512"/>
                  <a:gd name="T86" fmla="*/ 416 w 512"/>
                  <a:gd name="T87" fmla="*/ 149 h 512"/>
                  <a:gd name="T88" fmla="*/ 416 w 512"/>
                  <a:gd name="T89" fmla="*/ 341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12" h="512">
                    <a:moveTo>
                      <a:pt x="117" y="330"/>
                    </a:moveTo>
                    <a:cubicBezTo>
                      <a:pt x="160" y="330"/>
                      <a:pt x="160" y="330"/>
                      <a:pt x="160" y="330"/>
                    </a:cubicBezTo>
                    <a:cubicBezTo>
                      <a:pt x="166" y="330"/>
                      <a:pt x="170" y="335"/>
                      <a:pt x="170" y="341"/>
                    </a:cubicBezTo>
                    <a:cubicBezTo>
                      <a:pt x="170" y="376"/>
                      <a:pt x="170" y="376"/>
                      <a:pt x="170" y="376"/>
                    </a:cubicBezTo>
                    <a:cubicBezTo>
                      <a:pt x="205" y="334"/>
                      <a:pt x="205" y="334"/>
                      <a:pt x="205" y="334"/>
                    </a:cubicBezTo>
                    <a:cubicBezTo>
                      <a:pt x="207" y="332"/>
                      <a:pt x="210" y="330"/>
                      <a:pt x="213" y="330"/>
                    </a:cubicBezTo>
                    <a:cubicBezTo>
                      <a:pt x="394" y="330"/>
                      <a:pt x="394" y="330"/>
                      <a:pt x="394" y="330"/>
                    </a:cubicBezTo>
                    <a:cubicBezTo>
                      <a:pt x="394" y="160"/>
                      <a:pt x="394" y="160"/>
                      <a:pt x="394" y="160"/>
                    </a:cubicBezTo>
                    <a:cubicBezTo>
                      <a:pt x="117" y="160"/>
                      <a:pt x="117" y="160"/>
                      <a:pt x="117" y="160"/>
                    </a:cubicBezTo>
                    <a:lnTo>
                      <a:pt x="117" y="330"/>
                    </a:lnTo>
                    <a:close/>
                    <a:moveTo>
                      <a:pt x="298" y="234"/>
                    </a:moveTo>
                    <a:cubicBezTo>
                      <a:pt x="304" y="234"/>
                      <a:pt x="309" y="239"/>
                      <a:pt x="309" y="245"/>
                    </a:cubicBezTo>
                    <a:cubicBezTo>
                      <a:pt x="309" y="251"/>
                      <a:pt x="304" y="256"/>
                      <a:pt x="298" y="256"/>
                    </a:cubicBezTo>
                    <a:cubicBezTo>
                      <a:pt x="292" y="256"/>
                      <a:pt x="288" y="251"/>
                      <a:pt x="288" y="245"/>
                    </a:cubicBezTo>
                    <a:cubicBezTo>
                      <a:pt x="288" y="239"/>
                      <a:pt x="292" y="234"/>
                      <a:pt x="298" y="234"/>
                    </a:cubicBezTo>
                    <a:close/>
                    <a:moveTo>
                      <a:pt x="256" y="234"/>
                    </a:moveTo>
                    <a:cubicBezTo>
                      <a:pt x="262" y="234"/>
                      <a:pt x="266" y="239"/>
                      <a:pt x="266" y="245"/>
                    </a:cubicBezTo>
                    <a:cubicBezTo>
                      <a:pt x="266" y="251"/>
                      <a:pt x="262" y="256"/>
                      <a:pt x="256" y="256"/>
                    </a:cubicBezTo>
                    <a:cubicBezTo>
                      <a:pt x="250" y="256"/>
                      <a:pt x="245" y="251"/>
                      <a:pt x="245" y="245"/>
                    </a:cubicBezTo>
                    <a:cubicBezTo>
                      <a:pt x="245" y="239"/>
                      <a:pt x="250" y="234"/>
                      <a:pt x="256" y="234"/>
                    </a:cubicBezTo>
                    <a:close/>
                    <a:moveTo>
                      <a:pt x="213" y="234"/>
                    </a:moveTo>
                    <a:cubicBezTo>
                      <a:pt x="219" y="234"/>
                      <a:pt x="224" y="239"/>
                      <a:pt x="224" y="245"/>
                    </a:cubicBezTo>
                    <a:cubicBezTo>
                      <a:pt x="224" y="251"/>
                      <a:pt x="219" y="256"/>
                      <a:pt x="213" y="256"/>
                    </a:cubicBezTo>
                    <a:cubicBezTo>
                      <a:pt x="207" y="256"/>
                      <a:pt x="202" y="251"/>
                      <a:pt x="202" y="245"/>
                    </a:cubicBezTo>
                    <a:cubicBezTo>
                      <a:pt x="202" y="239"/>
                      <a:pt x="207" y="234"/>
                      <a:pt x="213" y="234"/>
                    </a:cubicBezTo>
                    <a:close/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  <a:moveTo>
                      <a:pt x="416" y="341"/>
                    </a:moveTo>
                    <a:cubicBezTo>
                      <a:pt x="416" y="347"/>
                      <a:pt x="411" y="352"/>
                      <a:pt x="405" y="352"/>
                    </a:cubicBezTo>
                    <a:cubicBezTo>
                      <a:pt x="218" y="352"/>
                      <a:pt x="218" y="352"/>
                      <a:pt x="218" y="352"/>
                    </a:cubicBezTo>
                    <a:cubicBezTo>
                      <a:pt x="168" y="412"/>
                      <a:pt x="168" y="412"/>
                      <a:pt x="168" y="412"/>
                    </a:cubicBezTo>
                    <a:cubicBezTo>
                      <a:pt x="166" y="414"/>
                      <a:pt x="163" y="416"/>
                      <a:pt x="160" y="416"/>
                    </a:cubicBezTo>
                    <a:cubicBezTo>
                      <a:pt x="158" y="416"/>
                      <a:pt x="157" y="415"/>
                      <a:pt x="156" y="415"/>
                    </a:cubicBezTo>
                    <a:cubicBezTo>
                      <a:pt x="152" y="414"/>
                      <a:pt x="149" y="409"/>
                      <a:pt x="149" y="405"/>
                    </a:cubicBezTo>
                    <a:cubicBezTo>
                      <a:pt x="149" y="352"/>
                      <a:pt x="149" y="352"/>
                      <a:pt x="149" y="352"/>
                    </a:cubicBezTo>
                    <a:cubicBezTo>
                      <a:pt x="106" y="352"/>
                      <a:pt x="106" y="352"/>
                      <a:pt x="106" y="352"/>
                    </a:cubicBezTo>
                    <a:cubicBezTo>
                      <a:pt x="100" y="352"/>
                      <a:pt x="96" y="347"/>
                      <a:pt x="96" y="341"/>
                    </a:cubicBezTo>
                    <a:cubicBezTo>
                      <a:pt x="96" y="149"/>
                      <a:pt x="96" y="149"/>
                      <a:pt x="96" y="149"/>
                    </a:cubicBezTo>
                    <a:cubicBezTo>
                      <a:pt x="96" y="143"/>
                      <a:pt x="100" y="138"/>
                      <a:pt x="106" y="138"/>
                    </a:cubicBezTo>
                    <a:cubicBezTo>
                      <a:pt x="405" y="138"/>
                      <a:pt x="405" y="138"/>
                      <a:pt x="405" y="138"/>
                    </a:cubicBezTo>
                    <a:cubicBezTo>
                      <a:pt x="411" y="138"/>
                      <a:pt x="416" y="143"/>
                      <a:pt x="416" y="149"/>
                    </a:cubicBezTo>
                    <a:lnTo>
                      <a:pt x="416" y="341"/>
                    </a:lnTo>
                    <a:close/>
                  </a:path>
                </a:pathLst>
              </a:custGeom>
              <a:solidFill>
                <a:srgbClr val="86BC2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>
                  <a:defRPr/>
                </a:pPr>
                <a:endParaRPr lang="en-US" sz="2000" kern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0681A1D-F49A-4449-98B1-5FDB4F8F7D2F}"/>
                </a:ext>
              </a:extLst>
            </p:cNvPr>
            <p:cNvSpPr txBox="1">
              <a:spLocks/>
            </p:cNvSpPr>
            <p:nvPr/>
          </p:nvSpPr>
          <p:spPr>
            <a:xfrm>
              <a:off x="7433539" y="3656293"/>
              <a:ext cx="3407200" cy="547037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SzPct val="100000"/>
                <a:buFont typeface="Arial" panose="020B0604020202020204" pitchFamily="34" charset="0"/>
                <a:buNone/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/>
                <a:buNone/>
                <a:defRPr lang="en-US" sz="1200" b="1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5194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2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75188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Verdana" panose="020B0604030504040204" pitchFamily="34" charset="0"/>
                <a:buChar char="−"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0382" indent="-235194" algn="l" defTabSz="1064657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Verdana" panose="020B0604030504040204" pitchFamily="34" charset="0"/>
                <a:buChar char="−"/>
                <a:tabLst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800" dirty="0"/>
                <a:t>1 to 1 personalization.</a:t>
              </a:r>
            </a:p>
            <a:p>
              <a:endParaRPr lang="en-US" sz="1800" dirty="0"/>
            </a:p>
          </p:txBody>
        </p:sp>
        <p:sp>
          <p:nvSpPr>
            <p:cNvPr id="17" name="Thought Bubble: Cloud 16">
              <a:extLst>
                <a:ext uri="{FF2B5EF4-FFF2-40B4-BE49-F238E27FC236}">
                  <a16:creationId xmlns:a16="http://schemas.microsoft.com/office/drawing/2014/main" id="{9E1B35E9-ED82-4769-B778-4214F2D20D4B}"/>
                </a:ext>
              </a:extLst>
            </p:cNvPr>
            <p:cNvSpPr/>
            <p:nvPr/>
          </p:nvSpPr>
          <p:spPr>
            <a:xfrm>
              <a:off x="5925558" y="2165547"/>
              <a:ext cx="715056" cy="636400"/>
            </a:xfrm>
            <a:prstGeom prst="cloudCallout">
              <a:avLst>
                <a:gd name="adj1" fmla="val -275966"/>
                <a:gd name="adj2" fmla="val 31429"/>
              </a:avLst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2.</a:t>
              </a:r>
            </a:p>
          </p:txBody>
        </p:sp>
        <p:sp>
          <p:nvSpPr>
            <p:cNvPr id="18" name="Thought Bubble: Cloud 17">
              <a:extLst>
                <a:ext uri="{FF2B5EF4-FFF2-40B4-BE49-F238E27FC236}">
                  <a16:creationId xmlns:a16="http://schemas.microsoft.com/office/drawing/2014/main" id="{6CB73CC7-D901-441F-AACF-6170B962F2FA}"/>
                </a:ext>
              </a:extLst>
            </p:cNvPr>
            <p:cNvSpPr/>
            <p:nvPr/>
          </p:nvSpPr>
          <p:spPr>
            <a:xfrm>
              <a:off x="5470974" y="912993"/>
              <a:ext cx="715056" cy="636400"/>
            </a:xfrm>
            <a:prstGeom prst="cloudCallout">
              <a:avLst>
                <a:gd name="adj1" fmla="val -230454"/>
                <a:gd name="adj2" fmla="val 155464"/>
              </a:avLst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1.</a:t>
              </a:r>
            </a:p>
          </p:txBody>
        </p:sp>
        <p:sp>
          <p:nvSpPr>
            <p:cNvPr id="19" name="Thought Bubble: Cloud 18">
              <a:extLst>
                <a:ext uri="{FF2B5EF4-FFF2-40B4-BE49-F238E27FC236}">
                  <a16:creationId xmlns:a16="http://schemas.microsoft.com/office/drawing/2014/main" id="{0BA89D3F-5AAD-42FF-8FE9-BB9FD9757F92}"/>
                </a:ext>
              </a:extLst>
            </p:cNvPr>
            <p:cNvSpPr/>
            <p:nvPr/>
          </p:nvSpPr>
          <p:spPr>
            <a:xfrm>
              <a:off x="5911163" y="3396333"/>
              <a:ext cx="715056" cy="636400"/>
            </a:xfrm>
            <a:prstGeom prst="cloudCallout">
              <a:avLst>
                <a:gd name="adj1" fmla="val -270557"/>
                <a:gd name="adj2" fmla="val -96113"/>
              </a:avLst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3.</a:t>
              </a:r>
            </a:p>
          </p:txBody>
        </p:sp>
        <p:sp>
          <p:nvSpPr>
            <p:cNvPr id="20" name="Thought Bubble: Cloud 19">
              <a:extLst>
                <a:ext uri="{FF2B5EF4-FFF2-40B4-BE49-F238E27FC236}">
                  <a16:creationId xmlns:a16="http://schemas.microsoft.com/office/drawing/2014/main" id="{CC6B48D8-B32D-4B8A-B32E-3DBFAC96ED27}"/>
                </a:ext>
              </a:extLst>
            </p:cNvPr>
            <p:cNvSpPr/>
            <p:nvPr/>
          </p:nvSpPr>
          <p:spPr>
            <a:xfrm>
              <a:off x="5470974" y="4541644"/>
              <a:ext cx="715056" cy="636400"/>
            </a:xfrm>
            <a:prstGeom prst="cloudCallout">
              <a:avLst>
                <a:gd name="adj1" fmla="val -238031"/>
                <a:gd name="adj2" fmla="val -211552"/>
              </a:avLst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4.</a:t>
              </a:r>
            </a:p>
          </p:txBody>
        </p:sp>
        <p:sp>
          <p:nvSpPr>
            <p:cNvPr id="24" name="Freeform 538">
              <a:extLst>
                <a:ext uri="{FF2B5EF4-FFF2-40B4-BE49-F238E27FC236}">
                  <a16:creationId xmlns:a16="http://schemas.microsoft.com/office/drawing/2014/main" id="{54078F39-D328-4869-BE69-1508F881A8E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369691" y="4701932"/>
              <a:ext cx="495970" cy="397252"/>
            </a:xfrm>
            <a:custGeom>
              <a:avLst/>
              <a:gdLst>
                <a:gd name="T0" fmla="*/ 226 w 512"/>
                <a:gd name="T1" fmla="*/ 352 h 512"/>
                <a:gd name="T2" fmla="*/ 286 w 512"/>
                <a:gd name="T3" fmla="*/ 352 h 512"/>
                <a:gd name="T4" fmla="*/ 279 w 512"/>
                <a:gd name="T5" fmla="*/ 394 h 512"/>
                <a:gd name="T6" fmla="*/ 233 w 512"/>
                <a:gd name="T7" fmla="*/ 394 h 512"/>
                <a:gd name="T8" fmla="*/ 226 w 512"/>
                <a:gd name="T9" fmla="*/ 352 h 512"/>
                <a:gd name="T10" fmla="*/ 256 w 512"/>
                <a:gd name="T11" fmla="*/ 117 h 512"/>
                <a:gd name="T12" fmla="*/ 178 w 512"/>
                <a:gd name="T13" fmla="*/ 191 h 512"/>
                <a:gd name="T14" fmla="*/ 194 w 512"/>
                <a:gd name="T15" fmla="*/ 242 h 512"/>
                <a:gd name="T16" fmla="*/ 224 w 512"/>
                <a:gd name="T17" fmla="*/ 309 h 512"/>
                <a:gd name="T18" fmla="*/ 224 w 512"/>
                <a:gd name="T19" fmla="*/ 330 h 512"/>
                <a:gd name="T20" fmla="*/ 245 w 512"/>
                <a:gd name="T21" fmla="*/ 330 h 512"/>
                <a:gd name="T22" fmla="*/ 245 w 512"/>
                <a:gd name="T23" fmla="*/ 249 h 512"/>
                <a:gd name="T24" fmla="*/ 227 w 512"/>
                <a:gd name="T25" fmla="*/ 231 h 512"/>
                <a:gd name="T26" fmla="*/ 227 w 512"/>
                <a:gd name="T27" fmla="*/ 216 h 512"/>
                <a:gd name="T28" fmla="*/ 242 w 512"/>
                <a:gd name="T29" fmla="*/ 216 h 512"/>
                <a:gd name="T30" fmla="*/ 256 w 512"/>
                <a:gd name="T31" fmla="*/ 230 h 512"/>
                <a:gd name="T32" fmla="*/ 269 w 512"/>
                <a:gd name="T33" fmla="*/ 216 h 512"/>
                <a:gd name="T34" fmla="*/ 285 w 512"/>
                <a:gd name="T35" fmla="*/ 216 h 512"/>
                <a:gd name="T36" fmla="*/ 285 w 512"/>
                <a:gd name="T37" fmla="*/ 231 h 512"/>
                <a:gd name="T38" fmla="*/ 266 w 512"/>
                <a:gd name="T39" fmla="*/ 249 h 512"/>
                <a:gd name="T40" fmla="*/ 266 w 512"/>
                <a:gd name="T41" fmla="*/ 330 h 512"/>
                <a:gd name="T42" fmla="*/ 288 w 512"/>
                <a:gd name="T43" fmla="*/ 330 h 512"/>
                <a:gd name="T44" fmla="*/ 288 w 512"/>
                <a:gd name="T45" fmla="*/ 309 h 512"/>
                <a:gd name="T46" fmla="*/ 318 w 512"/>
                <a:gd name="T47" fmla="*/ 243 h 512"/>
                <a:gd name="T48" fmla="*/ 334 w 512"/>
                <a:gd name="T49" fmla="*/ 191 h 512"/>
                <a:gd name="T50" fmla="*/ 256 w 512"/>
                <a:gd name="T51" fmla="*/ 117 h 512"/>
                <a:gd name="T52" fmla="*/ 512 w 512"/>
                <a:gd name="T53" fmla="*/ 256 h 512"/>
                <a:gd name="T54" fmla="*/ 256 w 512"/>
                <a:gd name="T55" fmla="*/ 512 h 512"/>
                <a:gd name="T56" fmla="*/ 0 w 512"/>
                <a:gd name="T57" fmla="*/ 256 h 512"/>
                <a:gd name="T58" fmla="*/ 256 w 512"/>
                <a:gd name="T59" fmla="*/ 0 h 512"/>
                <a:gd name="T60" fmla="*/ 512 w 512"/>
                <a:gd name="T61" fmla="*/ 256 h 512"/>
                <a:gd name="T62" fmla="*/ 356 w 512"/>
                <a:gd name="T63" fmla="*/ 191 h 512"/>
                <a:gd name="T64" fmla="*/ 256 w 512"/>
                <a:gd name="T65" fmla="*/ 96 h 512"/>
                <a:gd name="T66" fmla="*/ 256 w 512"/>
                <a:gd name="T67" fmla="*/ 96 h 512"/>
                <a:gd name="T68" fmla="*/ 256 w 512"/>
                <a:gd name="T69" fmla="*/ 96 h 512"/>
                <a:gd name="T70" fmla="*/ 256 w 512"/>
                <a:gd name="T71" fmla="*/ 96 h 512"/>
                <a:gd name="T72" fmla="*/ 255 w 512"/>
                <a:gd name="T73" fmla="*/ 96 h 512"/>
                <a:gd name="T74" fmla="*/ 157 w 512"/>
                <a:gd name="T75" fmla="*/ 191 h 512"/>
                <a:gd name="T76" fmla="*/ 176 w 512"/>
                <a:gd name="T77" fmla="*/ 254 h 512"/>
                <a:gd name="T78" fmla="*/ 202 w 512"/>
                <a:gd name="T79" fmla="*/ 309 h 512"/>
                <a:gd name="T80" fmla="*/ 202 w 512"/>
                <a:gd name="T81" fmla="*/ 341 h 512"/>
                <a:gd name="T82" fmla="*/ 203 w 512"/>
                <a:gd name="T83" fmla="*/ 342 h 512"/>
                <a:gd name="T84" fmla="*/ 202 w 512"/>
                <a:gd name="T85" fmla="*/ 343 h 512"/>
                <a:gd name="T86" fmla="*/ 213 w 512"/>
                <a:gd name="T87" fmla="*/ 407 h 512"/>
                <a:gd name="T88" fmla="*/ 224 w 512"/>
                <a:gd name="T89" fmla="*/ 416 h 512"/>
                <a:gd name="T90" fmla="*/ 288 w 512"/>
                <a:gd name="T91" fmla="*/ 416 h 512"/>
                <a:gd name="T92" fmla="*/ 298 w 512"/>
                <a:gd name="T93" fmla="*/ 407 h 512"/>
                <a:gd name="T94" fmla="*/ 309 w 512"/>
                <a:gd name="T95" fmla="*/ 343 h 512"/>
                <a:gd name="T96" fmla="*/ 309 w 512"/>
                <a:gd name="T97" fmla="*/ 342 h 512"/>
                <a:gd name="T98" fmla="*/ 309 w 512"/>
                <a:gd name="T99" fmla="*/ 341 h 512"/>
                <a:gd name="T100" fmla="*/ 309 w 512"/>
                <a:gd name="T101" fmla="*/ 309 h 512"/>
                <a:gd name="T102" fmla="*/ 336 w 512"/>
                <a:gd name="T103" fmla="*/ 254 h 512"/>
                <a:gd name="T104" fmla="*/ 356 w 512"/>
                <a:gd name="T105" fmla="*/ 19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2" h="512">
                  <a:moveTo>
                    <a:pt x="226" y="352"/>
                  </a:moveTo>
                  <a:cubicBezTo>
                    <a:pt x="286" y="352"/>
                    <a:pt x="286" y="352"/>
                    <a:pt x="286" y="352"/>
                  </a:cubicBezTo>
                  <a:cubicBezTo>
                    <a:pt x="279" y="394"/>
                    <a:pt x="279" y="394"/>
                    <a:pt x="279" y="394"/>
                  </a:cubicBezTo>
                  <a:cubicBezTo>
                    <a:pt x="233" y="394"/>
                    <a:pt x="233" y="394"/>
                    <a:pt x="233" y="394"/>
                  </a:cubicBezTo>
                  <a:lnTo>
                    <a:pt x="226" y="352"/>
                  </a:lnTo>
                  <a:close/>
                  <a:moveTo>
                    <a:pt x="256" y="117"/>
                  </a:moveTo>
                  <a:cubicBezTo>
                    <a:pt x="214" y="117"/>
                    <a:pt x="178" y="151"/>
                    <a:pt x="178" y="191"/>
                  </a:cubicBezTo>
                  <a:cubicBezTo>
                    <a:pt x="178" y="219"/>
                    <a:pt x="194" y="242"/>
                    <a:pt x="194" y="242"/>
                  </a:cubicBezTo>
                  <a:cubicBezTo>
                    <a:pt x="201" y="254"/>
                    <a:pt x="224" y="292"/>
                    <a:pt x="224" y="309"/>
                  </a:cubicBezTo>
                  <a:cubicBezTo>
                    <a:pt x="224" y="330"/>
                    <a:pt x="224" y="330"/>
                    <a:pt x="224" y="330"/>
                  </a:cubicBezTo>
                  <a:cubicBezTo>
                    <a:pt x="245" y="330"/>
                    <a:pt x="245" y="330"/>
                    <a:pt x="245" y="330"/>
                  </a:cubicBezTo>
                  <a:cubicBezTo>
                    <a:pt x="245" y="249"/>
                    <a:pt x="245" y="249"/>
                    <a:pt x="245" y="249"/>
                  </a:cubicBezTo>
                  <a:cubicBezTo>
                    <a:pt x="227" y="231"/>
                    <a:pt x="227" y="231"/>
                    <a:pt x="227" y="231"/>
                  </a:cubicBezTo>
                  <a:cubicBezTo>
                    <a:pt x="223" y="227"/>
                    <a:pt x="223" y="220"/>
                    <a:pt x="227" y="216"/>
                  </a:cubicBezTo>
                  <a:cubicBezTo>
                    <a:pt x="231" y="212"/>
                    <a:pt x="238" y="212"/>
                    <a:pt x="242" y="216"/>
                  </a:cubicBezTo>
                  <a:cubicBezTo>
                    <a:pt x="256" y="230"/>
                    <a:pt x="256" y="230"/>
                    <a:pt x="256" y="230"/>
                  </a:cubicBezTo>
                  <a:cubicBezTo>
                    <a:pt x="269" y="216"/>
                    <a:pt x="269" y="216"/>
                    <a:pt x="269" y="216"/>
                  </a:cubicBezTo>
                  <a:cubicBezTo>
                    <a:pt x="274" y="212"/>
                    <a:pt x="280" y="212"/>
                    <a:pt x="285" y="216"/>
                  </a:cubicBezTo>
                  <a:cubicBezTo>
                    <a:pt x="289" y="220"/>
                    <a:pt x="289" y="227"/>
                    <a:pt x="285" y="231"/>
                  </a:cubicBezTo>
                  <a:cubicBezTo>
                    <a:pt x="266" y="249"/>
                    <a:pt x="266" y="249"/>
                    <a:pt x="266" y="249"/>
                  </a:cubicBezTo>
                  <a:cubicBezTo>
                    <a:pt x="266" y="330"/>
                    <a:pt x="266" y="330"/>
                    <a:pt x="266" y="330"/>
                  </a:cubicBezTo>
                  <a:cubicBezTo>
                    <a:pt x="288" y="330"/>
                    <a:pt x="288" y="330"/>
                    <a:pt x="288" y="330"/>
                  </a:cubicBezTo>
                  <a:cubicBezTo>
                    <a:pt x="288" y="309"/>
                    <a:pt x="288" y="309"/>
                    <a:pt x="288" y="309"/>
                  </a:cubicBezTo>
                  <a:cubicBezTo>
                    <a:pt x="288" y="292"/>
                    <a:pt x="311" y="254"/>
                    <a:pt x="318" y="243"/>
                  </a:cubicBezTo>
                  <a:cubicBezTo>
                    <a:pt x="318" y="242"/>
                    <a:pt x="334" y="218"/>
                    <a:pt x="334" y="191"/>
                  </a:cubicBezTo>
                  <a:cubicBezTo>
                    <a:pt x="334" y="151"/>
                    <a:pt x="298" y="117"/>
                    <a:pt x="256" y="11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56" y="191"/>
                  </a:moveTo>
                  <a:cubicBezTo>
                    <a:pt x="356" y="140"/>
                    <a:pt x="310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6" y="96"/>
                    <a:pt x="255" y="96"/>
                  </a:cubicBezTo>
                  <a:cubicBezTo>
                    <a:pt x="202" y="96"/>
                    <a:pt x="157" y="140"/>
                    <a:pt x="157" y="191"/>
                  </a:cubicBezTo>
                  <a:cubicBezTo>
                    <a:pt x="157" y="225"/>
                    <a:pt x="175" y="253"/>
                    <a:pt x="176" y="254"/>
                  </a:cubicBezTo>
                  <a:cubicBezTo>
                    <a:pt x="189" y="275"/>
                    <a:pt x="202" y="302"/>
                    <a:pt x="202" y="309"/>
                  </a:cubicBezTo>
                  <a:cubicBezTo>
                    <a:pt x="202" y="341"/>
                    <a:pt x="202" y="341"/>
                    <a:pt x="202" y="341"/>
                  </a:cubicBezTo>
                  <a:cubicBezTo>
                    <a:pt x="202" y="341"/>
                    <a:pt x="202" y="342"/>
                    <a:pt x="203" y="342"/>
                  </a:cubicBezTo>
                  <a:cubicBezTo>
                    <a:pt x="203" y="342"/>
                    <a:pt x="202" y="342"/>
                    <a:pt x="202" y="343"/>
                  </a:cubicBezTo>
                  <a:cubicBezTo>
                    <a:pt x="213" y="407"/>
                    <a:pt x="213" y="407"/>
                    <a:pt x="213" y="407"/>
                  </a:cubicBezTo>
                  <a:cubicBezTo>
                    <a:pt x="214" y="412"/>
                    <a:pt x="218" y="416"/>
                    <a:pt x="224" y="416"/>
                  </a:cubicBezTo>
                  <a:cubicBezTo>
                    <a:pt x="288" y="416"/>
                    <a:pt x="288" y="416"/>
                    <a:pt x="288" y="416"/>
                  </a:cubicBezTo>
                  <a:cubicBezTo>
                    <a:pt x="293" y="416"/>
                    <a:pt x="297" y="412"/>
                    <a:pt x="298" y="407"/>
                  </a:cubicBezTo>
                  <a:cubicBezTo>
                    <a:pt x="309" y="343"/>
                    <a:pt x="309" y="343"/>
                    <a:pt x="309" y="343"/>
                  </a:cubicBezTo>
                  <a:cubicBezTo>
                    <a:pt x="309" y="342"/>
                    <a:pt x="309" y="342"/>
                    <a:pt x="309" y="342"/>
                  </a:cubicBezTo>
                  <a:cubicBezTo>
                    <a:pt x="309" y="342"/>
                    <a:pt x="309" y="341"/>
                    <a:pt x="309" y="341"/>
                  </a:cubicBezTo>
                  <a:cubicBezTo>
                    <a:pt x="309" y="309"/>
                    <a:pt x="309" y="309"/>
                    <a:pt x="309" y="309"/>
                  </a:cubicBezTo>
                  <a:cubicBezTo>
                    <a:pt x="309" y="302"/>
                    <a:pt x="323" y="275"/>
                    <a:pt x="336" y="254"/>
                  </a:cubicBezTo>
                  <a:cubicBezTo>
                    <a:pt x="337" y="253"/>
                    <a:pt x="356" y="225"/>
                    <a:pt x="356" y="191"/>
                  </a:cubicBez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000" kern="0">
                <a:solidFill>
                  <a:prstClr val="black"/>
                </a:solidFill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5F48183-FC50-46C5-936C-E0C95D4F8B10}"/>
                </a:ext>
              </a:extLst>
            </p:cNvPr>
            <p:cNvSpPr/>
            <p:nvPr/>
          </p:nvSpPr>
          <p:spPr>
            <a:xfrm>
              <a:off x="6798682" y="4747757"/>
              <a:ext cx="1964064" cy="3416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57150"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/>
                <a:t>Evergage as a CDP.</a:t>
              </a:r>
            </a:p>
          </p:txBody>
        </p:sp>
        <p:sp>
          <p:nvSpPr>
            <p:cNvPr id="25" name="Freeform 538">
              <a:extLst>
                <a:ext uri="{FF2B5EF4-FFF2-40B4-BE49-F238E27FC236}">
                  <a16:creationId xmlns:a16="http://schemas.microsoft.com/office/drawing/2014/main" id="{C5857D33-875F-418C-9CB3-4555B0A6F42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825728" y="3529947"/>
              <a:ext cx="495970" cy="397252"/>
            </a:xfrm>
            <a:custGeom>
              <a:avLst/>
              <a:gdLst>
                <a:gd name="T0" fmla="*/ 226 w 512"/>
                <a:gd name="T1" fmla="*/ 352 h 512"/>
                <a:gd name="T2" fmla="*/ 286 w 512"/>
                <a:gd name="T3" fmla="*/ 352 h 512"/>
                <a:gd name="T4" fmla="*/ 279 w 512"/>
                <a:gd name="T5" fmla="*/ 394 h 512"/>
                <a:gd name="T6" fmla="*/ 233 w 512"/>
                <a:gd name="T7" fmla="*/ 394 h 512"/>
                <a:gd name="T8" fmla="*/ 226 w 512"/>
                <a:gd name="T9" fmla="*/ 352 h 512"/>
                <a:gd name="T10" fmla="*/ 256 w 512"/>
                <a:gd name="T11" fmla="*/ 117 h 512"/>
                <a:gd name="T12" fmla="*/ 178 w 512"/>
                <a:gd name="T13" fmla="*/ 191 h 512"/>
                <a:gd name="T14" fmla="*/ 194 w 512"/>
                <a:gd name="T15" fmla="*/ 242 h 512"/>
                <a:gd name="T16" fmla="*/ 224 w 512"/>
                <a:gd name="T17" fmla="*/ 309 h 512"/>
                <a:gd name="T18" fmla="*/ 224 w 512"/>
                <a:gd name="T19" fmla="*/ 330 h 512"/>
                <a:gd name="T20" fmla="*/ 245 w 512"/>
                <a:gd name="T21" fmla="*/ 330 h 512"/>
                <a:gd name="T22" fmla="*/ 245 w 512"/>
                <a:gd name="T23" fmla="*/ 249 h 512"/>
                <a:gd name="T24" fmla="*/ 227 w 512"/>
                <a:gd name="T25" fmla="*/ 231 h 512"/>
                <a:gd name="T26" fmla="*/ 227 w 512"/>
                <a:gd name="T27" fmla="*/ 216 h 512"/>
                <a:gd name="T28" fmla="*/ 242 w 512"/>
                <a:gd name="T29" fmla="*/ 216 h 512"/>
                <a:gd name="T30" fmla="*/ 256 w 512"/>
                <a:gd name="T31" fmla="*/ 230 h 512"/>
                <a:gd name="T32" fmla="*/ 269 w 512"/>
                <a:gd name="T33" fmla="*/ 216 h 512"/>
                <a:gd name="T34" fmla="*/ 285 w 512"/>
                <a:gd name="T35" fmla="*/ 216 h 512"/>
                <a:gd name="T36" fmla="*/ 285 w 512"/>
                <a:gd name="T37" fmla="*/ 231 h 512"/>
                <a:gd name="T38" fmla="*/ 266 w 512"/>
                <a:gd name="T39" fmla="*/ 249 h 512"/>
                <a:gd name="T40" fmla="*/ 266 w 512"/>
                <a:gd name="T41" fmla="*/ 330 h 512"/>
                <a:gd name="T42" fmla="*/ 288 w 512"/>
                <a:gd name="T43" fmla="*/ 330 h 512"/>
                <a:gd name="T44" fmla="*/ 288 w 512"/>
                <a:gd name="T45" fmla="*/ 309 h 512"/>
                <a:gd name="T46" fmla="*/ 318 w 512"/>
                <a:gd name="T47" fmla="*/ 243 h 512"/>
                <a:gd name="T48" fmla="*/ 334 w 512"/>
                <a:gd name="T49" fmla="*/ 191 h 512"/>
                <a:gd name="T50" fmla="*/ 256 w 512"/>
                <a:gd name="T51" fmla="*/ 117 h 512"/>
                <a:gd name="T52" fmla="*/ 512 w 512"/>
                <a:gd name="T53" fmla="*/ 256 h 512"/>
                <a:gd name="T54" fmla="*/ 256 w 512"/>
                <a:gd name="T55" fmla="*/ 512 h 512"/>
                <a:gd name="T56" fmla="*/ 0 w 512"/>
                <a:gd name="T57" fmla="*/ 256 h 512"/>
                <a:gd name="T58" fmla="*/ 256 w 512"/>
                <a:gd name="T59" fmla="*/ 0 h 512"/>
                <a:gd name="T60" fmla="*/ 512 w 512"/>
                <a:gd name="T61" fmla="*/ 256 h 512"/>
                <a:gd name="T62" fmla="*/ 356 w 512"/>
                <a:gd name="T63" fmla="*/ 191 h 512"/>
                <a:gd name="T64" fmla="*/ 256 w 512"/>
                <a:gd name="T65" fmla="*/ 96 h 512"/>
                <a:gd name="T66" fmla="*/ 256 w 512"/>
                <a:gd name="T67" fmla="*/ 96 h 512"/>
                <a:gd name="T68" fmla="*/ 256 w 512"/>
                <a:gd name="T69" fmla="*/ 96 h 512"/>
                <a:gd name="T70" fmla="*/ 256 w 512"/>
                <a:gd name="T71" fmla="*/ 96 h 512"/>
                <a:gd name="T72" fmla="*/ 255 w 512"/>
                <a:gd name="T73" fmla="*/ 96 h 512"/>
                <a:gd name="T74" fmla="*/ 157 w 512"/>
                <a:gd name="T75" fmla="*/ 191 h 512"/>
                <a:gd name="T76" fmla="*/ 176 w 512"/>
                <a:gd name="T77" fmla="*/ 254 h 512"/>
                <a:gd name="T78" fmla="*/ 202 w 512"/>
                <a:gd name="T79" fmla="*/ 309 h 512"/>
                <a:gd name="T80" fmla="*/ 202 w 512"/>
                <a:gd name="T81" fmla="*/ 341 h 512"/>
                <a:gd name="T82" fmla="*/ 203 w 512"/>
                <a:gd name="T83" fmla="*/ 342 h 512"/>
                <a:gd name="T84" fmla="*/ 202 w 512"/>
                <a:gd name="T85" fmla="*/ 343 h 512"/>
                <a:gd name="T86" fmla="*/ 213 w 512"/>
                <a:gd name="T87" fmla="*/ 407 h 512"/>
                <a:gd name="T88" fmla="*/ 224 w 512"/>
                <a:gd name="T89" fmla="*/ 416 h 512"/>
                <a:gd name="T90" fmla="*/ 288 w 512"/>
                <a:gd name="T91" fmla="*/ 416 h 512"/>
                <a:gd name="T92" fmla="*/ 298 w 512"/>
                <a:gd name="T93" fmla="*/ 407 h 512"/>
                <a:gd name="T94" fmla="*/ 309 w 512"/>
                <a:gd name="T95" fmla="*/ 343 h 512"/>
                <a:gd name="T96" fmla="*/ 309 w 512"/>
                <a:gd name="T97" fmla="*/ 342 h 512"/>
                <a:gd name="T98" fmla="*/ 309 w 512"/>
                <a:gd name="T99" fmla="*/ 341 h 512"/>
                <a:gd name="T100" fmla="*/ 309 w 512"/>
                <a:gd name="T101" fmla="*/ 309 h 512"/>
                <a:gd name="T102" fmla="*/ 336 w 512"/>
                <a:gd name="T103" fmla="*/ 254 h 512"/>
                <a:gd name="T104" fmla="*/ 356 w 512"/>
                <a:gd name="T105" fmla="*/ 19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2" h="512">
                  <a:moveTo>
                    <a:pt x="226" y="352"/>
                  </a:moveTo>
                  <a:cubicBezTo>
                    <a:pt x="286" y="352"/>
                    <a:pt x="286" y="352"/>
                    <a:pt x="286" y="352"/>
                  </a:cubicBezTo>
                  <a:cubicBezTo>
                    <a:pt x="279" y="394"/>
                    <a:pt x="279" y="394"/>
                    <a:pt x="279" y="394"/>
                  </a:cubicBezTo>
                  <a:cubicBezTo>
                    <a:pt x="233" y="394"/>
                    <a:pt x="233" y="394"/>
                    <a:pt x="233" y="394"/>
                  </a:cubicBezTo>
                  <a:lnTo>
                    <a:pt x="226" y="352"/>
                  </a:lnTo>
                  <a:close/>
                  <a:moveTo>
                    <a:pt x="256" y="117"/>
                  </a:moveTo>
                  <a:cubicBezTo>
                    <a:pt x="214" y="117"/>
                    <a:pt x="178" y="151"/>
                    <a:pt x="178" y="191"/>
                  </a:cubicBezTo>
                  <a:cubicBezTo>
                    <a:pt x="178" y="219"/>
                    <a:pt x="194" y="242"/>
                    <a:pt x="194" y="242"/>
                  </a:cubicBezTo>
                  <a:cubicBezTo>
                    <a:pt x="201" y="254"/>
                    <a:pt x="224" y="292"/>
                    <a:pt x="224" y="309"/>
                  </a:cubicBezTo>
                  <a:cubicBezTo>
                    <a:pt x="224" y="330"/>
                    <a:pt x="224" y="330"/>
                    <a:pt x="224" y="330"/>
                  </a:cubicBezTo>
                  <a:cubicBezTo>
                    <a:pt x="245" y="330"/>
                    <a:pt x="245" y="330"/>
                    <a:pt x="245" y="330"/>
                  </a:cubicBezTo>
                  <a:cubicBezTo>
                    <a:pt x="245" y="249"/>
                    <a:pt x="245" y="249"/>
                    <a:pt x="245" y="249"/>
                  </a:cubicBezTo>
                  <a:cubicBezTo>
                    <a:pt x="227" y="231"/>
                    <a:pt x="227" y="231"/>
                    <a:pt x="227" y="231"/>
                  </a:cubicBezTo>
                  <a:cubicBezTo>
                    <a:pt x="223" y="227"/>
                    <a:pt x="223" y="220"/>
                    <a:pt x="227" y="216"/>
                  </a:cubicBezTo>
                  <a:cubicBezTo>
                    <a:pt x="231" y="212"/>
                    <a:pt x="238" y="212"/>
                    <a:pt x="242" y="216"/>
                  </a:cubicBezTo>
                  <a:cubicBezTo>
                    <a:pt x="256" y="230"/>
                    <a:pt x="256" y="230"/>
                    <a:pt x="256" y="230"/>
                  </a:cubicBezTo>
                  <a:cubicBezTo>
                    <a:pt x="269" y="216"/>
                    <a:pt x="269" y="216"/>
                    <a:pt x="269" y="216"/>
                  </a:cubicBezTo>
                  <a:cubicBezTo>
                    <a:pt x="274" y="212"/>
                    <a:pt x="280" y="212"/>
                    <a:pt x="285" y="216"/>
                  </a:cubicBezTo>
                  <a:cubicBezTo>
                    <a:pt x="289" y="220"/>
                    <a:pt x="289" y="227"/>
                    <a:pt x="285" y="231"/>
                  </a:cubicBezTo>
                  <a:cubicBezTo>
                    <a:pt x="266" y="249"/>
                    <a:pt x="266" y="249"/>
                    <a:pt x="266" y="249"/>
                  </a:cubicBezTo>
                  <a:cubicBezTo>
                    <a:pt x="266" y="330"/>
                    <a:pt x="266" y="330"/>
                    <a:pt x="266" y="330"/>
                  </a:cubicBezTo>
                  <a:cubicBezTo>
                    <a:pt x="288" y="330"/>
                    <a:pt x="288" y="330"/>
                    <a:pt x="288" y="330"/>
                  </a:cubicBezTo>
                  <a:cubicBezTo>
                    <a:pt x="288" y="309"/>
                    <a:pt x="288" y="309"/>
                    <a:pt x="288" y="309"/>
                  </a:cubicBezTo>
                  <a:cubicBezTo>
                    <a:pt x="288" y="292"/>
                    <a:pt x="311" y="254"/>
                    <a:pt x="318" y="243"/>
                  </a:cubicBezTo>
                  <a:cubicBezTo>
                    <a:pt x="318" y="242"/>
                    <a:pt x="334" y="218"/>
                    <a:pt x="334" y="191"/>
                  </a:cubicBezTo>
                  <a:cubicBezTo>
                    <a:pt x="334" y="151"/>
                    <a:pt x="298" y="117"/>
                    <a:pt x="256" y="11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56" y="191"/>
                  </a:moveTo>
                  <a:cubicBezTo>
                    <a:pt x="356" y="140"/>
                    <a:pt x="310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96"/>
                    <a:pt x="256" y="96"/>
                    <a:pt x="255" y="96"/>
                  </a:cubicBezTo>
                  <a:cubicBezTo>
                    <a:pt x="202" y="96"/>
                    <a:pt x="157" y="140"/>
                    <a:pt x="157" y="191"/>
                  </a:cubicBezTo>
                  <a:cubicBezTo>
                    <a:pt x="157" y="225"/>
                    <a:pt x="175" y="253"/>
                    <a:pt x="176" y="254"/>
                  </a:cubicBezTo>
                  <a:cubicBezTo>
                    <a:pt x="189" y="275"/>
                    <a:pt x="202" y="302"/>
                    <a:pt x="202" y="309"/>
                  </a:cubicBezTo>
                  <a:cubicBezTo>
                    <a:pt x="202" y="341"/>
                    <a:pt x="202" y="341"/>
                    <a:pt x="202" y="341"/>
                  </a:cubicBezTo>
                  <a:cubicBezTo>
                    <a:pt x="202" y="341"/>
                    <a:pt x="202" y="342"/>
                    <a:pt x="203" y="342"/>
                  </a:cubicBezTo>
                  <a:cubicBezTo>
                    <a:pt x="203" y="342"/>
                    <a:pt x="202" y="342"/>
                    <a:pt x="202" y="343"/>
                  </a:cubicBezTo>
                  <a:cubicBezTo>
                    <a:pt x="213" y="407"/>
                    <a:pt x="213" y="407"/>
                    <a:pt x="213" y="407"/>
                  </a:cubicBezTo>
                  <a:cubicBezTo>
                    <a:pt x="214" y="412"/>
                    <a:pt x="218" y="416"/>
                    <a:pt x="224" y="416"/>
                  </a:cubicBezTo>
                  <a:cubicBezTo>
                    <a:pt x="288" y="416"/>
                    <a:pt x="288" y="416"/>
                    <a:pt x="288" y="416"/>
                  </a:cubicBezTo>
                  <a:cubicBezTo>
                    <a:pt x="293" y="416"/>
                    <a:pt x="297" y="412"/>
                    <a:pt x="298" y="407"/>
                  </a:cubicBezTo>
                  <a:cubicBezTo>
                    <a:pt x="309" y="343"/>
                    <a:pt x="309" y="343"/>
                    <a:pt x="309" y="343"/>
                  </a:cubicBezTo>
                  <a:cubicBezTo>
                    <a:pt x="309" y="342"/>
                    <a:pt x="309" y="342"/>
                    <a:pt x="309" y="342"/>
                  </a:cubicBezTo>
                  <a:cubicBezTo>
                    <a:pt x="309" y="342"/>
                    <a:pt x="309" y="341"/>
                    <a:pt x="309" y="341"/>
                  </a:cubicBezTo>
                  <a:cubicBezTo>
                    <a:pt x="309" y="309"/>
                    <a:pt x="309" y="309"/>
                    <a:pt x="309" y="309"/>
                  </a:cubicBezTo>
                  <a:cubicBezTo>
                    <a:pt x="309" y="302"/>
                    <a:pt x="323" y="275"/>
                    <a:pt x="336" y="254"/>
                  </a:cubicBezTo>
                  <a:cubicBezTo>
                    <a:pt x="337" y="253"/>
                    <a:pt x="356" y="225"/>
                    <a:pt x="356" y="191"/>
                  </a:cubicBez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000" kern="0">
                <a:solidFill>
                  <a:prstClr val="black"/>
                </a:solidFill>
              </a:endParaRPr>
            </a:p>
          </p:txBody>
        </p:sp>
      </p:grpSp>
      <p:sp>
        <p:nvSpPr>
          <p:cNvPr id="27" name="Title 10">
            <a:extLst>
              <a:ext uri="{FF2B5EF4-FFF2-40B4-BE49-F238E27FC236}">
                <a16:creationId xmlns:a16="http://schemas.microsoft.com/office/drawing/2014/main" id="{54F0E06A-7E06-4475-B31E-2EC43034958C}"/>
              </a:ext>
            </a:extLst>
          </p:cNvPr>
          <p:cNvSpPr txBox="1">
            <a:spLocks/>
          </p:cNvSpPr>
          <p:nvPr/>
        </p:nvSpPr>
        <p:spPr>
          <a:xfrm>
            <a:off x="-1" y="165101"/>
            <a:ext cx="12191999" cy="409330"/>
          </a:xfrm>
          <a:prstGeom prst="rect">
            <a:avLst/>
          </a:prstGeom>
          <a:solidFill>
            <a:schemeClr val="tx1"/>
          </a:solidFill>
        </p:spPr>
        <p:txBody>
          <a:bodyPr vert="horz" lIns="0" tIns="4572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>
                <a:solidFill>
                  <a:schemeClr val="bg1"/>
                </a:solidFill>
              </a:rPr>
              <a:t>Milestone 1 – Capability Deck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A407B2AF-0953-4E9A-9E22-D7A08F8B01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7678" y="6426731"/>
            <a:ext cx="3133725" cy="238125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540BAEF0-81AD-4644-9B87-E7A4FF0913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5567" y="2895849"/>
            <a:ext cx="1038225" cy="1004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33187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0">
            <a:extLst>
              <a:ext uri="{FF2B5EF4-FFF2-40B4-BE49-F238E27FC236}">
                <a16:creationId xmlns:a16="http://schemas.microsoft.com/office/drawing/2014/main" id="{8689C6CC-06F4-42E6-9DBC-278D2F0A3C7C}"/>
              </a:ext>
            </a:extLst>
          </p:cNvPr>
          <p:cNvSpPr txBox="1">
            <a:spLocks/>
          </p:cNvSpPr>
          <p:nvPr/>
        </p:nvSpPr>
        <p:spPr>
          <a:xfrm>
            <a:off x="-1" y="165101"/>
            <a:ext cx="12191999" cy="409330"/>
          </a:xfrm>
          <a:prstGeom prst="rect">
            <a:avLst/>
          </a:prstGeom>
          <a:solidFill>
            <a:schemeClr val="tx1"/>
          </a:solidFill>
        </p:spPr>
        <p:txBody>
          <a:bodyPr vert="horz" lIns="0" tIns="4572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>
                <a:solidFill>
                  <a:schemeClr val="bg1"/>
                </a:solidFill>
              </a:rPr>
              <a:t>Industry Use Cas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8674BA4-BF2B-4AA0-B40A-D7F8ED2F2C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412" y="6431637"/>
            <a:ext cx="3133725" cy="238125"/>
          </a:xfrm>
          <a:prstGeom prst="rect">
            <a:avLst/>
          </a:prstGeom>
        </p:spPr>
      </p:pic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EBDFB811-4FEA-4D72-A417-5191972B323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86924352"/>
              </p:ext>
            </p:extLst>
          </p:nvPr>
        </p:nvGraphicFramePr>
        <p:xfrm>
          <a:off x="-158751" y="978715"/>
          <a:ext cx="9826625" cy="47286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6DD6762-E830-4BB4-AAF5-4E537890288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36377" y="1235890"/>
            <a:ext cx="673723" cy="5871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B595853-FE78-4185-B443-6F79F1B0FB7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54561" y="3784039"/>
            <a:ext cx="674680" cy="5879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003027C-5264-4E35-A09F-0E02D7380C7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54561" y="2252351"/>
            <a:ext cx="635000" cy="63188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503B422-E381-475B-867C-94F55B3E10C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49612" y="4846295"/>
            <a:ext cx="647251" cy="63188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5CCB6F6-9CB5-413B-851F-82691AE303D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528845" y="2680661"/>
            <a:ext cx="1339922" cy="131821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0466A48-9AE4-4863-9C70-45272A3496A9}"/>
              </a:ext>
            </a:extLst>
          </p:cNvPr>
          <p:cNvSpPr txBox="1"/>
          <p:nvPr/>
        </p:nvSpPr>
        <p:spPr>
          <a:xfrm>
            <a:off x="971550" y="3059668"/>
            <a:ext cx="11192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Use Cases</a:t>
            </a:r>
          </a:p>
        </p:txBody>
      </p:sp>
    </p:spTree>
    <p:extLst>
      <p:ext uri="{BB962C8B-B14F-4D97-AF65-F5344CB8AC3E}">
        <p14:creationId xmlns:p14="http://schemas.microsoft.com/office/powerpoint/2010/main" val="38439188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4_3_Onscreen_US.potx" id="{795F17D0-D668-4BB0-993F-18D77895CF44}" vid="{55F7B453-1372-4671-A3FC-B8E911619A3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9</TotalTime>
  <Words>343</Words>
  <Application>Microsoft Office PowerPoint</Application>
  <PresentationFormat>Widescreen</PresentationFormat>
  <Paragraphs>77</Paragraphs>
  <Slides>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7" baseType="lpstr">
      <vt:lpstr>Arial</vt:lpstr>
      <vt:lpstr>Calibri</vt:lpstr>
      <vt:lpstr>Calibri Light</vt:lpstr>
      <vt:lpstr>Chronicle Display Black</vt:lpstr>
      <vt:lpstr>Frutiger Next Pro Light</vt:lpstr>
      <vt:lpstr>Open Sans</vt:lpstr>
      <vt:lpstr>Verdana</vt:lpstr>
      <vt:lpstr>Wingdings</vt:lpstr>
      <vt:lpstr>Office Theme</vt:lpstr>
      <vt:lpstr>Deloitte Brand Theme</vt:lpstr>
      <vt:lpstr>think-cell Slide</vt:lpstr>
      <vt:lpstr>Evergage Use case Timelines</vt:lpstr>
      <vt:lpstr>PowerPoint Presentation</vt:lpstr>
      <vt:lpstr>In-Scope Activities.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vergage Use case Timelines</dc:title>
  <dc:creator>Kashyap, Akshay</dc:creator>
  <cp:lastModifiedBy>Kashyap, Akshay</cp:lastModifiedBy>
  <cp:revision>43</cp:revision>
  <dcterms:created xsi:type="dcterms:W3CDTF">2020-07-28T07:23:59Z</dcterms:created>
  <dcterms:modified xsi:type="dcterms:W3CDTF">2020-08-05T05:29:37Z</dcterms:modified>
</cp:coreProperties>
</file>